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747" r:id="rId5"/>
  </p:sldMasterIdLst>
  <p:notesMasterIdLst>
    <p:notesMasterId r:id="rId7"/>
  </p:notesMasterIdLst>
  <p:sldIdLst>
    <p:sldId id="2076136361" r:id="rId6"/>
  </p:sldIdLst>
  <p:sldSz cx="12192000" cy="6858000"/>
  <p:notesSz cx="6858000" cy="9144000"/>
  <p:custDataLst>
    <p:tags r:id="rId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organ Milner" initials="MM" lastIdx="3" clrIdx="0">
    <p:extLst>
      <p:ext uri="{19B8F6BF-5375-455C-9EA6-DF929625EA0E}">
        <p15:presenceInfo xmlns:p15="http://schemas.microsoft.com/office/powerpoint/2012/main" userId="Morgan Milner" providerId="None"/>
      </p:ext>
    </p:extLst>
  </p:cmAuthor>
  <p:cmAuthor id="2" name="Kathryn Courtney" initials="KC" lastIdx="12" clrIdx="1">
    <p:extLst>
      <p:ext uri="{19B8F6BF-5375-455C-9EA6-DF929625EA0E}">
        <p15:presenceInfo xmlns:p15="http://schemas.microsoft.com/office/powerpoint/2012/main" userId="Kathryn Courtney" providerId="None"/>
      </p:ext>
    </p:extLst>
  </p:cmAuthor>
  <p:cmAuthor id="3" name="Vera Pashkevich" initials="VP" lastIdx="3" clrIdx="2">
    <p:extLst>
      <p:ext uri="{19B8F6BF-5375-455C-9EA6-DF929625EA0E}">
        <p15:presenceInfo xmlns:p15="http://schemas.microsoft.com/office/powerpoint/2012/main" userId="S::vera@audienz.com::6105d74a-0dab-4ef4-9c90-497d02e310be" providerId="AD"/>
      </p:ext>
    </p:extLst>
  </p:cmAuthor>
  <p:cmAuthor id="4" name="Travis Nesse" initials="TN" lastIdx="1" clrIdx="3">
    <p:extLst>
      <p:ext uri="{19B8F6BF-5375-455C-9EA6-DF929625EA0E}">
        <p15:presenceInfo xmlns:p15="http://schemas.microsoft.com/office/powerpoint/2012/main" userId="Travis Nesse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284EC"/>
    <a:srgbClr val="0F6FC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AB7DC654-4810-409D-8CE4-3D66EC220BDB}" v="1" dt="2020-06-29T20:11:41.184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55" d="100"/>
          <a:sy n="55" d="100"/>
        </p:scale>
        <p:origin x="1004" y="3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notesMaster" Target="notesMasters/notesMaster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microsoft.com/office/2015/10/relationships/revisionInfo" Target="revisionInfo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commentAuthors" Target="commentAuthors.xml"/><Relationship Id="rId14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Kathryn Courtney" userId="47f03cbe-3182-49c3-8a15-72d4a7c4d181" providerId="ADAL" clId="{1224F0DA-9AFC-4CBA-8D76-608EA7169969}"/>
    <pc:docChg chg="delSld delSection modSection">
      <pc:chgData name="Kathryn Courtney" userId="47f03cbe-3182-49c3-8a15-72d4a7c4d181" providerId="ADAL" clId="{1224F0DA-9AFC-4CBA-8D76-608EA7169969}" dt="2020-05-27T19:50:39.627" v="1" actId="17853"/>
      <pc:docMkLst>
        <pc:docMk/>
      </pc:docMkLst>
    </pc:docChg>
  </pc:docChgLst>
  <pc:docChgLst>
    <pc:chgData name="Mary Lisa Newman" userId="9c8cba21-67a1-4aa9-98ba-c4ca1eda0aa0" providerId="ADAL" clId="{13CCC56B-3A8E-46D2-9A5E-82991A7FE13E}"/>
    <pc:docChg chg="modSld">
      <pc:chgData name="Mary Lisa Newman" userId="9c8cba21-67a1-4aa9-98ba-c4ca1eda0aa0" providerId="ADAL" clId="{13CCC56B-3A8E-46D2-9A5E-82991A7FE13E}" dt="2020-06-16T17:15:04.641" v="9" actId="13926"/>
      <pc:docMkLst>
        <pc:docMk/>
      </pc:docMkLst>
      <pc:sldChg chg="modSp">
        <pc:chgData name="Mary Lisa Newman" userId="9c8cba21-67a1-4aa9-98ba-c4ca1eda0aa0" providerId="ADAL" clId="{13CCC56B-3A8E-46D2-9A5E-82991A7FE13E}" dt="2020-06-16T17:15:04.641" v="9" actId="13926"/>
        <pc:sldMkLst>
          <pc:docMk/>
          <pc:sldMk cId="3890508678" sldId="2076136361"/>
        </pc:sldMkLst>
        <pc:spChg chg="mod">
          <ac:chgData name="Mary Lisa Newman" userId="9c8cba21-67a1-4aa9-98ba-c4ca1eda0aa0" providerId="ADAL" clId="{13CCC56B-3A8E-46D2-9A5E-82991A7FE13E}" dt="2020-06-16T17:14:15.779" v="2" actId="13926"/>
          <ac:spMkLst>
            <pc:docMk/>
            <pc:sldMk cId="3890508678" sldId="2076136361"/>
            <ac:spMk id="11" creationId="{16654BE4-4DCA-4B66-A51F-84794EB4B08B}"/>
          </ac:spMkLst>
        </pc:spChg>
        <pc:spChg chg="mod">
          <ac:chgData name="Mary Lisa Newman" userId="9c8cba21-67a1-4aa9-98ba-c4ca1eda0aa0" providerId="ADAL" clId="{13CCC56B-3A8E-46D2-9A5E-82991A7FE13E}" dt="2020-06-16T17:14:05.679" v="0" actId="13926"/>
          <ac:spMkLst>
            <pc:docMk/>
            <pc:sldMk cId="3890508678" sldId="2076136361"/>
            <ac:spMk id="49" creationId="{B5EFF7AE-2C9F-4F18-B2F0-97F7CE2DFC97}"/>
          </ac:spMkLst>
        </pc:spChg>
        <pc:spChg chg="mod">
          <ac:chgData name="Mary Lisa Newman" userId="9c8cba21-67a1-4aa9-98ba-c4ca1eda0aa0" providerId="ADAL" clId="{13CCC56B-3A8E-46D2-9A5E-82991A7FE13E}" dt="2020-06-16T17:14:38.866" v="6" actId="13926"/>
          <ac:spMkLst>
            <pc:docMk/>
            <pc:sldMk cId="3890508678" sldId="2076136361"/>
            <ac:spMk id="57" creationId="{61E68FED-2FCB-41AE-9F03-4E45E6F20017}"/>
          </ac:spMkLst>
        </pc:spChg>
        <pc:spChg chg="mod">
          <ac:chgData name="Mary Lisa Newman" userId="9c8cba21-67a1-4aa9-98ba-c4ca1eda0aa0" providerId="ADAL" clId="{13CCC56B-3A8E-46D2-9A5E-82991A7FE13E}" dt="2020-06-16T17:15:04.641" v="9" actId="13926"/>
          <ac:spMkLst>
            <pc:docMk/>
            <pc:sldMk cId="3890508678" sldId="2076136361"/>
            <ac:spMk id="59" creationId="{54FCAE7D-422B-4E2D-A0E6-7157FB700FD0}"/>
          </ac:spMkLst>
        </pc:spChg>
        <pc:spChg chg="mod">
          <ac:chgData name="Mary Lisa Newman" userId="9c8cba21-67a1-4aa9-98ba-c4ca1eda0aa0" providerId="ADAL" clId="{13CCC56B-3A8E-46D2-9A5E-82991A7FE13E}" dt="2020-06-16T17:14:11.910" v="1" actId="13926"/>
          <ac:spMkLst>
            <pc:docMk/>
            <pc:sldMk cId="3890508678" sldId="2076136361"/>
            <ac:spMk id="75" creationId="{8F2BA130-ECED-4880-8499-258543262BB7}"/>
          </ac:spMkLst>
        </pc:spChg>
      </pc:sldChg>
    </pc:docChg>
  </pc:docChgLst>
  <pc:docChgLst>
    <pc:chgData name="Travis Nesse" userId="7f5cd6f3-7534-4332-8f38-a3b44d62a5a5" providerId="ADAL" clId="{3ADA5E93-52AD-4E66-8EA9-51E41B9CCA3E}"/>
    <pc:docChg chg="custSel modSld">
      <pc:chgData name="Travis Nesse" userId="7f5cd6f3-7534-4332-8f38-a3b44d62a5a5" providerId="ADAL" clId="{3ADA5E93-52AD-4E66-8EA9-51E41B9CCA3E}" dt="2020-06-05T17:34:42.749" v="1"/>
      <pc:docMkLst>
        <pc:docMk/>
      </pc:docMkLst>
      <pc:sldChg chg="addCm modCm">
        <pc:chgData name="Travis Nesse" userId="7f5cd6f3-7534-4332-8f38-a3b44d62a5a5" providerId="ADAL" clId="{3ADA5E93-52AD-4E66-8EA9-51E41B9CCA3E}" dt="2020-06-05T17:34:42.749" v="1"/>
        <pc:sldMkLst>
          <pc:docMk/>
          <pc:sldMk cId="3890508678" sldId="2076136361"/>
        </pc:sldMkLst>
      </pc:sldChg>
    </pc:docChg>
  </pc:docChgLst>
  <pc:docChgLst>
    <pc:chgData name="Quincy Kosena" userId="S::quincy@audienz.com::34552e9c-390f-40b5-8a42-f626db2682ad" providerId="AD" clId="Web-{6D9351F3-D090-B436-0F4C-493BF2FD0090}"/>
    <pc:docChg chg="addSld delSld modSld">
      <pc:chgData name="Quincy Kosena" userId="S::quincy@audienz.com::34552e9c-390f-40b5-8a42-f626db2682ad" providerId="AD" clId="Web-{6D9351F3-D090-B436-0F4C-493BF2FD0090}" dt="2020-06-05T23:50:21.073" v="18"/>
      <pc:docMkLst>
        <pc:docMk/>
      </pc:docMkLst>
      <pc:sldChg chg="addSp delSp modSp delCm">
        <pc:chgData name="Quincy Kosena" userId="S::quincy@audienz.com::34552e9c-390f-40b5-8a42-f626db2682ad" providerId="AD" clId="Web-{6D9351F3-D090-B436-0F4C-493BF2FD0090}" dt="2020-06-05T23:50:21.073" v="18"/>
        <pc:sldMkLst>
          <pc:docMk/>
          <pc:sldMk cId="3890508678" sldId="2076136361"/>
        </pc:sldMkLst>
        <pc:spChg chg="mod ord">
          <ac:chgData name="Quincy Kosena" userId="S::quincy@audienz.com::34552e9c-390f-40b5-8a42-f626db2682ad" providerId="AD" clId="Web-{6D9351F3-D090-B436-0F4C-493BF2FD0090}" dt="2020-06-05T23:49:59.978" v="15"/>
          <ac:spMkLst>
            <pc:docMk/>
            <pc:sldMk cId="3890508678" sldId="2076136361"/>
            <ac:spMk id="21" creationId="{D5D0F4D8-685D-4887-B11C-3DFD2F3E9982}"/>
          </ac:spMkLst>
        </pc:spChg>
        <pc:spChg chg="del">
          <ac:chgData name="Quincy Kosena" userId="S::quincy@audienz.com::34552e9c-390f-40b5-8a42-f626db2682ad" providerId="AD" clId="Web-{6D9351F3-D090-B436-0F4C-493BF2FD0090}" dt="2020-06-05T23:50:08.447" v="16"/>
          <ac:spMkLst>
            <pc:docMk/>
            <pc:sldMk cId="3890508678" sldId="2076136361"/>
            <ac:spMk id="70" creationId="{02D913FA-B09D-4A0B-8BE2-3D7BEDB97D51}"/>
          </ac:spMkLst>
        </pc:spChg>
        <pc:spChg chg="add mod ord">
          <ac:chgData name="Quincy Kosena" userId="S::quincy@audienz.com::34552e9c-390f-40b5-8a42-f626db2682ad" providerId="AD" clId="Web-{6D9351F3-D090-B436-0F4C-493BF2FD0090}" dt="2020-06-05T23:49:36.539" v="10"/>
          <ac:spMkLst>
            <pc:docMk/>
            <pc:sldMk cId="3890508678" sldId="2076136361"/>
            <ac:spMk id="86" creationId="{1AD83CA1-5006-41E6-BF66-4284EF08FB15}"/>
          </ac:spMkLst>
        </pc:spChg>
        <pc:picChg chg="ord">
          <ac:chgData name="Quincy Kosena" userId="S::quincy@audienz.com::34552e9c-390f-40b5-8a42-f626db2682ad" providerId="AD" clId="Web-{6D9351F3-D090-B436-0F4C-493BF2FD0090}" dt="2020-06-05T23:50:13.198" v="17"/>
          <ac:picMkLst>
            <pc:docMk/>
            <pc:sldMk cId="3890508678" sldId="2076136361"/>
            <ac:picMk id="84" creationId="{14832D92-9AC4-4494-B294-7867D3E29CC5}"/>
          </ac:picMkLst>
        </pc:picChg>
      </pc:sldChg>
      <pc:sldChg chg="new del">
        <pc:chgData name="Quincy Kosena" userId="S::quincy@audienz.com::34552e9c-390f-40b5-8a42-f626db2682ad" providerId="AD" clId="Web-{6D9351F3-D090-B436-0F4C-493BF2FD0090}" dt="2020-06-05T23:38:54.340" v="1"/>
        <pc:sldMkLst>
          <pc:docMk/>
          <pc:sldMk cId="645161928" sldId="2076136362"/>
        </pc:sldMkLst>
      </pc:sldChg>
    </pc:docChg>
  </pc:docChgLst>
  <pc:docChgLst>
    <pc:chgData name="Kate Mulholland" userId="S::kate@audienz.com::47ccfe7d-0e78-42f3-a765-58539515065c" providerId="AD" clId="Web-{66373B3E-A1A9-D8FE-67C9-096E94EFAB4F}"/>
    <pc:docChg chg="modSld">
      <pc:chgData name="Kate Mulholland" userId="S::kate@audienz.com::47ccfe7d-0e78-42f3-a765-58539515065c" providerId="AD" clId="Web-{66373B3E-A1A9-D8FE-67C9-096E94EFAB4F}" dt="2020-05-27T18:32:31.643" v="7" actId="1076"/>
      <pc:docMkLst>
        <pc:docMk/>
      </pc:docMkLst>
      <pc:sldChg chg="modSp">
        <pc:chgData name="Kate Mulholland" userId="S::kate@audienz.com::47ccfe7d-0e78-42f3-a765-58539515065c" providerId="AD" clId="Web-{66373B3E-A1A9-D8FE-67C9-096E94EFAB4F}" dt="2020-05-27T18:32:31.643" v="7" actId="1076"/>
        <pc:sldMkLst>
          <pc:docMk/>
          <pc:sldMk cId="3890508678" sldId="2076136361"/>
        </pc:sldMkLst>
        <pc:spChg chg="mod">
          <ac:chgData name="Kate Mulholland" userId="S::kate@audienz.com::47ccfe7d-0e78-42f3-a765-58539515065c" providerId="AD" clId="Web-{66373B3E-A1A9-D8FE-67C9-096E94EFAB4F}" dt="2020-05-27T18:31:22.721" v="2" actId="1076"/>
          <ac:spMkLst>
            <pc:docMk/>
            <pc:sldMk cId="3890508678" sldId="2076136361"/>
            <ac:spMk id="75" creationId="{8F2BA130-ECED-4880-8499-258543262BB7}"/>
          </ac:spMkLst>
        </pc:spChg>
        <pc:cxnChg chg="mod">
          <ac:chgData name="Kate Mulholland" userId="S::kate@audienz.com::47ccfe7d-0e78-42f3-a765-58539515065c" providerId="AD" clId="Web-{66373B3E-A1A9-D8FE-67C9-096E94EFAB4F}" dt="2020-05-27T18:31:11.768" v="0" actId="1076"/>
          <ac:cxnSpMkLst>
            <pc:docMk/>
            <pc:sldMk cId="3890508678" sldId="2076136361"/>
            <ac:cxnSpMk id="29" creationId="{070860B6-D40B-4EE1-904C-0B9065939391}"/>
          </ac:cxnSpMkLst>
        </pc:cxnChg>
        <pc:cxnChg chg="mod">
          <ac:chgData name="Kate Mulholland" userId="S::kate@audienz.com::47ccfe7d-0e78-42f3-a765-58539515065c" providerId="AD" clId="Web-{66373B3E-A1A9-D8FE-67C9-096E94EFAB4F}" dt="2020-05-27T18:32:31.643" v="7" actId="1076"/>
          <ac:cxnSpMkLst>
            <pc:docMk/>
            <pc:sldMk cId="3890508678" sldId="2076136361"/>
            <ac:cxnSpMk id="76" creationId="{D904F5BF-6AA8-4EDD-9B6D-319CEFB822FA}"/>
          </ac:cxnSpMkLst>
        </pc:cxnChg>
      </pc:sldChg>
    </pc:docChg>
  </pc:docChgLst>
  <pc:docChgLst>
    <pc:chgData name="Danielle Barnum" userId="S::danielleb@audienz.com::26cca7e4-4818-41c5-86e0-4bd2001cdc77" providerId="AD" clId="Web-{7418E74E-9401-5304-43E9-F4F21DDC6E02}"/>
    <pc:docChg chg="modSld">
      <pc:chgData name="Danielle Barnum" userId="S::danielleb@audienz.com::26cca7e4-4818-41c5-86e0-4bd2001cdc77" providerId="AD" clId="Web-{7418E74E-9401-5304-43E9-F4F21DDC6E02}" dt="2020-06-15T17:35:04.744" v="1" actId="20577"/>
      <pc:docMkLst>
        <pc:docMk/>
      </pc:docMkLst>
      <pc:sldChg chg="modSp">
        <pc:chgData name="Danielle Barnum" userId="S::danielleb@audienz.com::26cca7e4-4818-41c5-86e0-4bd2001cdc77" providerId="AD" clId="Web-{7418E74E-9401-5304-43E9-F4F21DDC6E02}" dt="2020-06-15T17:35:04.744" v="0" actId="20577"/>
        <pc:sldMkLst>
          <pc:docMk/>
          <pc:sldMk cId="3890508678" sldId="2076136361"/>
        </pc:sldMkLst>
        <pc:spChg chg="mod">
          <ac:chgData name="Danielle Barnum" userId="S::danielleb@audienz.com::26cca7e4-4818-41c5-86e0-4bd2001cdc77" providerId="AD" clId="Web-{7418E74E-9401-5304-43E9-F4F21DDC6E02}" dt="2020-06-15T17:35:04.744" v="0" actId="20577"/>
          <ac:spMkLst>
            <pc:docMk/>
            <pc:sldMk cId="3890508678" sldId="2076136361"/>
            <ac:spMk id="11" creationId="{16654BE4-4DCA-4B66-A51F-84794EB4B08B}"/>
          </ac:spMkLst>
        </pc:spChg>
      </pc:sldChg>
    </pc:docChg>
  </pc:docChgLst>
  <pc:docChgLst>
    <pc:chgData name="Mary Lisa Newman" userId="9c8cba21-67a1-4aa9-98ba-c4ca1eda0aa0" providerId="ADAL" clId="{AB7DC654-4810-409D-8CE4-3D66EC220BDB}"/>
    <pc:docChg chg="custSel modSld">
      <pc:chgData name="Mary Lisa Newman" userId="9c8cba21-67a1-4aa9-98ba-c4ca1eda0aa0" providerId="ADAL" clId="{AB7DC654-4810-409D-8CE4-3D66EC220BDB}" dt="2020-06-29T20:12:29.901" v="24" actId="14100"/>
      <pc:docMkLst>
        <pc:docMk/>
      </pc:docMkLst>
      <pc:sldChg chg="addSp delSp modSp">
        <pc:chgData name="Mary Lisa Newman" userId="9c8cba21-67a1-4aa9-98ba-c4ca1eda0aa0" providerId="ADAL" clId="{AB7DC654-4810-409D-8CE4-3D66EC220BDB}" dt="2020-06-29T20:12:29.901" v="24" actId="14100"/>
        <pc:sldMkLst>
          <pc:docMk/>
          <pc:sldMk cId="3890508678" sldId="2076136361"/>
        </pc:sldMkLst>
        <pc:spChg chg="mod">
          <ac:chgData name="Mary Lisa Newman" userId="9c8cba21-67a1-4aa9-98ba-c4ca1eda0aa0" providerId="ADAL" clId="{AB7DC654-4810-409D-8CE4-3D66EC220BDB}" dt="2020-06-29T20:12:12.554" v="20" actId="13926"/>
          <ac:spMkLst>
            <pc:docMk/>
            <pc:sldMk cId="3890508678" sldId="2076136361"/>
            <ac:spMk id="11" creationId="{16654BE4-4DCA-4B66-A51F-84794EB4B08B}"/>
          </ac:spMkLst>
        </pc:spChg>
        <pc:spChg chg="mod">
          <ac:chgData name="Mary Lisa Newman" userId="9c8cba21-67a1-4aa9-98ba-c4ca1eda0aa0" providerId="ADAL" clId="{AB7DC654-4810-409D-8CE4-3D66EC220BDB}" dt="2020-06-29T20:12:29.901" v="24" actId="14100"/>
          <ac:spMkLst>
            <pc:docMk/>
            <pc:sldMk cId="3890508678" sldId="2076136361"/>
            <ac:spMk id="21" creationId="{D5D0F4D8-685D-4887-B11C-3DFD2F3E9982}"/>
          </ac:spMkLst>
        </pc:spChg>
        <pc:spChg chg="mod">
          <ac:chgData name="Mary Lisa Newman" userId="9c8cba21-67a1-4aa9-98ba-c4ca1eda0aa0" providerId="ADAL" clId="{AB7DC654-4810-409D-8CE4-3D66EC220BDB}" dt="2020-06-29T20:12:08.203" v="18" actId="13926"/>
          <ac:spMkLst>
            <pc:docMk/>
            <pc:sldMk cId="3890508678" sldId="2076136361"/>
            <ac:spMk id="49" creationId="{B5EFF7AE-2C9F-4F18-B2F0-97F7CE2DFC97}"/>
          </ac:spMkLst>
        </pc:spChg>
        <pc:spChg chg="mod">
          <ac:chgData name="Mary Lisa Newman" userId="9c8cba21-67a1-4aa9-98ba-c4ca1eda0aa0" providerId="ADAL" clId="{AB7DC654-4810-409D-8CE4-3D66EC220BDB}" dt="2020-06-29T20:12:14.441" v="21" actId="13926"/>
          <ac:spMkLst>
            <pc:docMk/>
            <pc:sldMk cId="3890508678" sldId="2076136361"/>
            <ac:spMk id="57" creationId="{61E68FED-2FCB-41AE-9F03-4E45E6F20017}"/>
          </ac:spMkLst>
        </pc:spChg>
        <pc:spChg chg="mod">
          <ac:chgData name="Mary Lisa Newman" userId="9c8cba21-67a1-4aa9-98ba-c4ca1eda0aa0" providerId="ADAL" clId="{AB7DC654-4810-409D-8CE4-3D66EC220BDB}" dt="2020-06-29T20:12:16.669" v="22" actId="13926"/>
          <ac:spMkLst>
            <pc:docMk/>
            <pc:sldMk cId="3890508678" sldId="2076136361"/>
            <ac:spMk id="59" creationId="{54FCAE7D-422B-4E2D-A0E6-7157FB700FD0}"/>
          </ac:spMkLst>
        </pc:spChg>
        <pc:spChg chg="add ord">
          <ac:chgData name="Mary Lisa Newman" userId="9c8cba21-67a1-4aa9-98ba-c4ca1eda0aa0" providerId="ADAL" clId="{AB7DC654-4810-409D-8CE4-3D66EC220BDB}" dt="2020-06-29T20:11:51.412" v="15" actId="171"/>
          <ac:spMkLst>
            <pc:docMk/>
            <pc:sldMk cId="3890508678" sldId="2076136361"/>
            <ac:spMk id="70" creationId="{9FECC336-3D36-4332-927D-CFC391A0A1B4}"/>
          </ac:spMkLst>
        </pc:spChg>
        <pc:spChg chg="mod">
          <ac:chgData name="Mary Lisa Newman" userId="9c8cba21-67a1-4aa9-98ba-c4ca1eda0aa0" providerId="ADAL" clId="{AB7DC654-4810-409D-8CE4-3D66EC220BDB}" dt="2020-06-29T20:12:10.208" v="19" actId="13926"/>
          <ac:spMkLst>
            <pc:docMk/>
            <pc:sldMk cId="3890508678" sldId="2076136361"/>
            <ac:spMk id="75" creationId="{8F2BA130-ECED-4880-8499-258543262BB7}"/>
          </ac:spMkLst>
        </pc:spChg>
        <pc:spChg chg="add ord">
          <ac:chgData name="Mary Lisa Newman" userId="9c8cba21-67a1-4aa9-98ba-c4ca1eda0aa0" providerId="ADAL" clId="{AB7DC654-4810-409D-8CE4-3D66EC220BDB}" dt="2020-06-29T20:11:51.412" v="15" actId="171"/>
          <ac:spMkLst>
            <pc:docMk/>
            <pc:sldMk cId="3890508678" sldId="2076136361"/>
            <ac:spMk id="87" creationId="{3DE7BA97-6A2A-46F1-970A-FF532A8E847E}"/>
          </ac:spMkLst>
        </pc:spChg>
        <pc:spChg chg="add del ord">
          <ac:chgData name="Mary Lisa Newman" userId="9c8cba21-67a1-4aa9-98ba-c4ca1eda0aa0" providerId="ADAL" clId="{AB7DC654-4810-409D-8CE4-3D66EC220BDB}" dt="2020-06-29T20:12:02.742" v="17" actId="478"/>
          <ac:spMkLst>
            <pc:docMk/>
            <pc:sldMk cId="3890508678" sldId="2076136361"/>
            <ac:spMk id="90" creationId="{131841EC-9AB9-4EB0-80C5-1912610081BB}"/>
          </ac:spMkLst>
        </pc:spChg>
        <pc:spChg chg="add del ord">
          <ac:chgData name="Mary Lisa Newman" userId="9c8cba21-67a1-4aa9-98ba-c4ca1eda0aa0" providerId="ADAL" clId="{AB7DC654-4810-409D-8CE4-3D66EC220BDB}" dt="2020-06-29T20:11:57.950" v="16" actId="478"/>
          <ac:spMkLst>
            <pc:docMk/>
            <pc:sldMk cId="3890508678" sldId="2076136361"/>
            <ac:spMk id="91" creationId="{4AAEE20D-451D-4D12-A5C3-D591FCE08E84}"/>
          </ac:spMkLst>
        </pc:spChg>
        <pc:cxnChg chg="add ord">
          <ac:chgData name="Mary Lisa Newman" userId="9c8cba21-67a1-4aa9-98ba-c4ca1eda0aa0" providerId="ADAL" clId="{AB7DC654-4810-409D-8CE4-3D66EC220BDB}" dt="2020-06-29T20:11:51.412" v="15" actId="171"/>
          <ac:cxnSpMkLst>
            <pc:docMk/>
            <pc:sldMk cId="3890508678" sldId="2076136361"/>
            <ac:cxnSpMk id="88" creationId="{1BD35802-CFF4-4B59-B18A-647768F54A5B}"/>
          </ac:cxnSpMkLst>
        </pc:cxnChg>
        <pc:cxnChg chg="add ord">
          <ac:chgData name="Mary Lisa Newman" userId="9c8cba21-67a1-4aa9-98ba-c4ca1eda0aa0" providerId="ADAL" clId="{AB7DC654-4810-409D-8CE4-3D66EC220BDB}" dt="2020-06-29T20:11:51.412" v="15" actId="171"/>
          <ac:cxnSpMkLst>
            <pc:docMk/>
            <pc:sldMk cId="3890508678" sldId="2076136361"/>
            <ac:cxnSpMk id="89" creationId="{122AD411-797E-4EC9-9418-B7B145ECB553}"/>
          </ac:cxnSpMkLst>
        </pc:cxnChg>
      </pc:sldChg>
    </pc:docChg>
  </pc:docChgLst>
  <pc:docChgLst>
    <pc:chgData name="Justin Padley" userId="978645c5-a9de-4e27-ba47-c149af5c21ac" providerId="ADAL" clId="{DD65B380-4E40-48D8-9393-4EA311304550}"/>
    <pc:docChg chg="custSel modSld">
      <pc:chgData name="Justin Padley" userId="978645c5-a9de-4e27-ba47-c149af5c21ac" providerId="ADAL" clId="{DD65B380-4E40-48D8-9393-4EA311304550}" dt="2020-06-09T21:49:35.889" v="6" actId="478"/>
      <pc:docMkLst>
        <pc:docMk/>
      </pc:docMkLst>
      <pc:sldChg chg="delSp modSp mod">
        <pc:chgData name="Justin Padley" userId="978645c5-a9de-4e27-ba47-c149af5c21ac" providerId="ADAL" clId="{DD65B380-4E40-48D8-9393-4EA311304550}" dt="2020-06-09T21:49:35.889" v="6" actId="478"/>
        <pc:sldMkLst>
          <pc:docMk/>
          <pc:sldMk cId="3890508678" sldId="2076136361"/>
        </pc:sldMkLst>
        <pc:spChg chg="del mod">
          <ac:chgData name="Justin Padley" userId="978645c5-a9de-4e27-ba47-c149af5c21ac" providerId="ADAL" clId="{DD65B380-4E40-48D8-9393-4EA311304550}" dt="2020-06-09T21:49:35.889" v="6" actId="478"/>
          <ac:spMkLst>
            <pc:docMk/>
            <pc:sldMk cId="3890508678" sldId="2076136361"/>
            <ac:spMk id="6" creationId="{0024DD31-6A19-48AE-A6E4-16F4C49B74AA}"/>
          </ac:spMkLst>
        </pc:spChg>
        <pc:spChg chg="del mod">
          <ac:chgData name="Justin Padley" userId="978645c5-a9de-4e27-ba47-c149af5c21ac" providerId="ADAL" clId="{DD65B380-4E40-48D8-9393-4EA311304550}" dt="2020-06-09T21:49:14.710" v="5" actId="478"/>
          <ac:spMkLst>
            <pc:docMk/>
            <pc:sldMk cId="3890508678" sldId="2076136361"/>
            <ac:spMk id="27" creationId="{DA881DE9-55F3-4F13-9E1C-77828397F8AD}"/>
          </ac:spMkLst>
        </pc:spChg>
      </pc:sldChg>
    </pc:docChg>
  </pc:docChgLst>
  <pc:docChgLst>
    <pc:chgData name="Danielle Barnum" userId="S::danielleb@audienz.com::26cca7e4-4818-41c5-86e0-4bd2001cdc77" providerId="AD" clId="Web-{CAFAE016-38C7-168C-2B11-1826A26F0D91}"/>
    <pc:docChg chg="modSld">
      <pc:chgData name="Danielle Barnum" userId="S::danielleb@audienz.com::26cca7e4-4818-41c5-86e0-4bd2001cdc77" providerId="AD" clId="Web-{CAFAE016-38C7-168C-2B11-1826A26F0D91}" dt="2020-06-15T17:28:41.396" v="3" actId="20577"/>
      <pc:docMkLst>
        <pc:docMk/>
      </pc:docMkLst>
      <pc:sldChg chg="modSp">
        <pc:chgData name="Danielle Barnum" userId="S::danielleb@audienz.com::26cca7e4-4818-41c5-86e0-4bd2001cdc77" providerId="AD" clId="Web-{CAFAE016-38C7-168C-2B11-1826A26F0D91}" dt="2020-06-15T17:28:41.396" v="3" actId="20577"/>
        <pc:sldMkLst>
          <pc:docMk/>
          <pc:sldMk cId="3890508678" sldId="2076136361"/>
        </pc:sldMkLst>
        <pc:spChg chg="mod">
          <ac:chgData name="Danielle Barnum" userId="S::danielleb@audienz.com::26cca7e4-4818-41c5-86e0-4bd2001cdc77" providerId="AD" clId="Web-{CAFAE016-38C7-168C-2B11-1826A26F0D91}" dt="2020-06-15T17:28:41.396" v="3" actId="20577"/>
          <ac:spMkLst>
            <pc:docMk/>
            <pc:sldMk cId="3890508678" sldId="2076136361"/>
            <ac:spMk id="11" creationId="{16654BE4-4DCA-4B66-A51F-84794EB4B08B}"/>
          </ac:spMkLst>
        </pc:spChg>
      </pc:sldChg>
    </pc:docChg>
  </pc:docChgLst>
  <pc:docChgLst>
    <pc:chgData name="Danielle Barnum" userId="S::danielleb@audienz.com::26cca7e4-4818-41c5-86e0-4bd2001cdc77" providerId="AD" clId="Web-{2E642F1B-49AB-64E7-96D2-1ADD3D058DDA}"/>
    <pc:docChg chg="modSld">
      <pc:chgData name="Danielle Barnum" userId="S::danielleb@audienz.com::26cca7e4-4818-41c5-86e0-4bd2001cdc77" providerId="AD" clId="Web-{2E642F1B-49AB-64E7-96D2-1ADD3D058DDA}" dt="2020-06-03T22:53:19.681" v="0" actId="1076"/>
      <pc:docMkLst>
        <pc:docMk/>
      </pc:docMkLst>
      <pc:sldChg chg="modSp">
        <pc:chgData name="Danielle Barnum" userId="S::danielleb@audienz.com::26cca7e4-4818-41c5-86e0-4bd2001cdc77" providerId="AD" clId="Web-{2E642F1B-49AB-64E7-96D2-1ADD3D058DDA}" dt="2020-06-03T22:53:19.681" v="0" actId="1076"/>
        <pc:sldMkLst>
          <pc:docMk/>
          <pc:sldMk cId="3890508678" sldId="2076136361"/>
        </pc:sldMkLst>
        <pc:spChg chg="mod">
          <ac:chgData name="Danielle Barnum" userId="S::danielleb@audienz.com::26cca7e4-4818-41c5-86e0-4bd2001cdc77" providerId="AD" clId="Web-{2E642F1B-49AB-64E7-96D2-1ADD3D058DDA}" dt="2020-06-03T22:53:19.681" v="0" actId="1076"/>
          <ac:spMkLst>
            <pc:docMk/>
            <pc:sldMk cId="3890508678" sldId="2076136361"/>
            <ac:spMk id="21" creationId="{D5D0F4D8-685D-4887-B11C-3DFD2F3E9982}"/>
          </ac:spMkLst>
        </pc:sp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0A97DC5-3D2D-4CF1-9EE9-A03929656A5C}" type="datetimeFigureOut">
              <a:rPr lang="en-GB" smtClean="0"/>
              <a:t>29/06/2020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98B1D10-D4D1-4ABB-959E-D3036FF1B54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6892908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l" rtl="0"/>
            <a:fld id="{698B1D10-D4D1-4ABB-959E-D3036FF1B543}" type="slidenum">
              <a:rPr/>
              <a:t>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29168303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>
          <a:xfrm>
            <a:off x="228601" y="6553200"/>
            <a:ext cx="11201400" cy="304801"/>
          </a:xfrm>
        </p:spPr>
        <p:txBody>
          <a:bodyPr/>
          <a:lstStyle/>
          <a:p>
            <a:endParaRPr lang="en-US">
              <a:solidFill>
                <a:srgbClr val="505050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AADACFB-7C71-4E89-89D2-7BBA40B7BFA9}" type="slidenum">
              <a:rPr lang="en-US" smtClean="0">
                <a:solidFill>
                  <a:srgbClr val="505050"/>
                </a:solidFill>
              </a:rPr>
              <a:pPr/>
              <a:t>‹#›</a:t>
            </a:fld>
            <a:endParaRPr lang="en-US">
              <a:solidFill>
                <a:srgbClr val="505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73019858"/>
      </p:ext>
    </p:extLst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BE2550-DA43-453C-A328-33C740E654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4200" y="1437481"/>
            <a:ext cx="5212080" cy="1649682"/>
          </a:xfrm>
        </p:spPr>
        <p:txBody>
          <a:bodyPr wrap="square">
            <a:spAutoFit/>
          </a:bodyPr>
          <a:lstStyle>
            <a:lvl1pPr marL="231775" indent="-231775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427038" indent="-171450">
              <a:buFont typeface="Wingdings" panose="05000000000000000000" pitchFamily="2" charset="2"/>
              <a:buChar char=""/>
              <a:defRPr sz="2000" b="0"/>
            </a:lvl2pPr>
            <a:lvl3pPr marL="639763" indent="-188913">
              <a:buFont typeface="Wingdings" panose="05000000000000000000" pitchFamily="2" charset="2"/>
              <a:buChar char=""/>
              <a:tabLst/>
              <a:defRPr sz="1600" b="0"/>
            </a:lvl3pPr>
            <a:lvl4pPr marL="828675" indent="-176213">
              <a:buFont typeface="Wingdings" panose="05000000000000000000" pitchFamily="2" charset="2"/>
              <a:buChar char=""/>
              <a:defRPr sz="1400" b="0"/>
            </a:lvl4pPr>
            <a:lvl5pPr marL="1023938" indent="-169863">
              <a:buFont typeface="Wingdings" panose="05000000000000000000" pitchFamily="2" charset="2"/>
              <a:buChar char=""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85278796-7B84-4D67-88CD-BF78BB06D21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389914" y="1437481"/>
            <a:ext cx="5212080" cy="1649682"/>
          </a:xfrm>
        </p:spPr>
        <p:txBody>
          <a:bodyPr wrap="square">
            <a:spAutoFit/>
          </a:bodyPr>
          <a:lstStyle>
            <a:lvl1pPr marL="231775" indent="-231775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427038" indent="-171450">
              <a:buFont typeface="Wingdings" panose="05000000000000000000" pitchFamily="2" charset="2"/>
              <a:buChar char=""/>
              <a:defRPr sz="2000" b="0"/>
            </a:lvl2pPr>
            <a:lvl3pPr marL="639763" indent="-188913">
              <a:buFont typeface="Wingdings" panose="05000000000000000000" pitchFamily="2" charset="2"/>
              <a:buChar char=""/>
              <a:tabLst/>
              <a:defRPr sz="1600" b="0"/>
            </a:lvl3pPr>
            <a:lvl4pPr marL="828675" indent="-176213">
              <a:buFont typeface="Wingdings" panose="05000000000000000000" pitchFamily="2" charset="2"/>
              <a:buChar char=""/>
              <a:defRPr sz="1400" b="0"/>
            </a:lvl4pPr>
            <a:lvl5pPr marL="1023938" indent="-169863">
              <a:buFont typeface="Wingdings" panose="05000000000000000000" pitchFamily="2" charset="2"/>
              <a:buChar char=""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0327619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1276">
          <p15:clr>
            <a:srgbClr val="5ACBF0"/>
          </p15:clr>
        </p15:guide>
        <p15:guide id="3" orient="horz" pos="904">
          <p15:clr>
            <a:srgbClr val="5ACBF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2754DF-CB0E-46F9-AA3C-00BC673EBD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457200"/>
            <a:ext cx="11018520" cy="498598"/>
          </a:xfrm>
        </p:spPr>
        <p:txBody>
          <a:bodyPr/>
          <a:lstStyle>
            <a:lvl1pPr>
              <a:lnSpc>
                <a:spcPct val="90000"/>
              </a:lnSpc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5530875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3" orient="horz" pos="900">
          <p15:clr>
            <a:srgbClr val="5ACBF0"/>
          </p15:clr>
        </p15:guide>
        <p15:guide id="4" orient="horz" pos="1276">
          <p15:clr>
            <a:srgbClr val="5ACBF0"/>
          </p15:clr>
        </p15:guide>
        <p15:guide id="5" orient="horz" pos="288">
          <p15:clr>
            <a:srgbClr val="5ACBF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with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D31026A-4A74-439D-A8F5-DB82A03E71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6785692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itle - half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>
            <a:extLst>
              <a:ext uri="{FF2B5EF4-FFF2-40B4-BE49-F238E27FC236}">
                <a16:creationId xmlns:a16="http://schemas.microsoft.com/office/drawing/2014/main" id="{4B2500C4-B436-4E3A-8A91-A02448A774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4200" y="457200"/>
            <a:ext cx="5508419" cy="372410"/>
          </a:xfrm>
        </p:spPr>
        <p:txBody>
          <a:bodyPr tIns="64008"/>
          <a:lstStyle>
            <a:lvl1pPr>
              <a:defRPr sz="2000" spc="0"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3903847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3223"/>
            <a:ext cx="914400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0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5216" y="3977319"/>
            <a:ext cx="9144000" cy="307777"/>
          </a:xfrm>
          <a:noFill/>
        </p:spPr>
        <p:txBody>
          <a:bodyPr lIns="0" tIns="0" rIns="0" bIns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57838597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>
          <p15:clr>
            <a:srgbClr val="5ACBF0"/>
          </p15:clr>
        </p15:guide>
        <p15:guide id="3" orient="horz" pos="1910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3223"/>
            <a:ext cx="914400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0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5216" y="3977319"/>
            <a:ext cx="9144000" cy="307777"/>
          </a:xfrm>
          <a:noFill/>
        </p:spPr>
        <p:txBody>
          <a:bodyPr lIns="0" tIns="0" rIns="0" bIns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8293931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>
          <p15:clr>
            <a:srgbClr val="5ACBF0"/>
          </p15:clr>
        </p15:guide>
        <p15:guide id="3" orient="horz" pos="1910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5808"/>
            <a:ext cx="914400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0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Video</a:t>
            </a:r>
          </a:p>
        </p:txBody>
      </p:sp>
    </p:spTree>
    <p:extLst>
      <p:ext uri="{BB962C8B-B14F-4D97-AF65-F5344CB8AC3E}">
        <p14:creationId xmlns:p14="http://schemas.microsoft.com/office/powerpoint/2010/main" val="204989533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1">
          <p15:clr>
            <a:srgbClr val="5ACBF0"/>
          </p15:clr>
        </p15:guide>
        <p15:guide id="3" orient="horz" pos="1914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5808"/>
            <a:ext cx="914400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0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Video</a:t>
            </a:r>
          </a:p>
        </p:txBody>
      </p:sp>
    </p:spTree>
    <p:extLst>
      <p:ext uri="{BB962C8B-B14F-4D97-AF65-F5344CB8AC3E}">
        <p14:creationId xmlns:p14="http://schemas.microsoft.com/office/powerpoint/2010/main" val="27375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1">
          <p15:clr>
            <a:srgbClr val="5ACBF0"/>
          </p15:clr>
        </p15:guide>
        <p15:guide id="3" orient="horz" pos="1914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5808"/>
            <a:ext cx="914400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0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81476202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27">
          <p15:clr>
            <a:srgbClr val="5ACBF0"/>
          </p15:clr>
        </p15:guide>
        <p15:guide id="3" orient="horz" pos="1911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5808"/>
            <a:ext cx="914400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0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7895771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>
          <p15:clr>
            <a:srgbClr val="5ACBF0"/>
          </p15:clr>
        </p15:guide>
        <p15:guide id="3" orient="horz" pos="1910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9B7B9A44-A73E-457E-9760-DE89215E9825}"/>
              </a:ext>
            </a:extLst>
          </p:cNvPr>
          <p:cNvSpPr>
            <a:spLocks noGrp="1"/>
          </p:cNvSpPr>
          <p:nvPr>
            <p:ph type="pic" sz="quarter" idx="37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 tIns="914400" bIns="2560320" anchor="ctr" anchorCtr="0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Drag picture her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63E4B7B-3403-4188-8DD9-115D363D60DD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0" y="5359400"/>
            <a:ext cx="12192000" cy="1498600"/>
          </a:xfrm>
          <a:prstGeom prst="rect">
            <a:avLst/>
          </a:prstGeom>
          <a:solidFill>
            <a:schemeClr val="bg1">
              <a:alpha val="87000"/>
            </a:schemeClr>
          </a:solidFill>
        </p:spPr>
        <p:txBody>
          <a:bodyPr lIns="2468880" tIns="91440" rIns="182880" anchor="ctr" anchorCtr="0"/>
          <a:lstStyle>
            <a:lvl1pPr marL="0" indent="0" algn="r">
              <a:lnSpc>
                <a:spcPct val="100000"/>
              </a:lnSpc>
              <a:buNone/>
              <a:defRPr sz="1600"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457200" indent="0">
              <a:buNone/>
              <a:defRPr sz="1600"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 marL="914400" indent="0">
              <a:buNone/>
              <a:defRPr sz="1600">
                <a:latin typeface="Segoe UI" panose="020B0502040204020203" pitchFamily="34" charset="0"/>
                <a:cs typeface="Segoe UI" panose="020B0502040204020203" pitchFamily="34" charset="0"/>
              </a:defRPr>
            </a:lvl3pPr>
            <a:lvl4pPr marL="1371600" indent="0">
              <a:buNone/>
              <a:defRPr sz="1600">
                <a:latin typeface="Segoe UI" panose="020B0502040204020203" pitchFamily="34" charset="0"/>
                <a:cs typeface="Segoe UI" panose="020B0502040204020203" pitchFamily="34" charset="0"/>
              </a:defRPr>
            </a:lvl4pPr>
            <a:lvl5pPr marL="1828800" indent="0">
              <a:buNone/>
              <a:defRPr sz="1600">
                <a:latin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en-US"/>
              <a:t>“</a:t>
            </a:r>
            <a:r>
              <a:rPr lang="en-US" err="1"/>
              <a:t>Sed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perspiciatis</a:t>
            </a:r>
            <a:r>
              <a:rPr lang="en-US"/>
              <a:t> </a:t>
            </a:r>
            <a:r>
              <a:rPr lang="en-US" err="1"/>
              <a:t>unde</a:t>
            </a:r>
            <a:r>
              <a:rPr lang="en-US"/>
              <a:t> </a:t>
            </a:r>
            <a:r>
              <a:rPr lang="en-US" err="1"/>
              <a:t>omnis</a:t>
            </a:r>
            <a:r>
              <a:rPr lang="en-US"/>
              <a:t> </a:t>
            </a:r>
            <a:r>
              <a:rPr lang="en-US" err="1"/>
              <a:t>iste</a:t>
            </a:r>
            <a:r>
              <a:rPr lang="en-US"/>
              <a:t> </a:t>
            </a:r>
            <a:r>
              <a:rPr lang="en-US" err="1"/>
              <a:t>inventore</a:t>
            </a:r>
            <a:r>
              <a:rPr lang="en-US"/>
              <a:t> </a:t>
            </a:r>
            <a:r>
              <a:rPr lang="en-US" err="1"/>
              <a:t>veritatis</a:t>
            </a:r>
            <a:r>
              <a:rPr lang="en-US"/>
              <a:t> et quasi </a:t>
            </a:r>
            <a:r>
              <a:rPr lang="en-US" err="1"/>
              <a:t>natus</a:t>
            </a:r>
            <a:r>
              <a:rPr lang="en-US"/>
              <a:t> error sit </a:t>
            </a:r>
            <a:r>
              <a:rPr lang="en-US" err="1"/>
              <a:t>voluptatem</a:t>
            </a:r>
            <a:r>
              <a:rPr lang="en-US"/>
              <a:t> </a:t>
            </a:r>
            <a:r>
              <a:rPr lang="en-US" err="1"/>
              <a:t>accusantium</a:t>
            </a:r>
            <a:r>
              <a:rPr lang="en-US"/>
              <a:t> </a:t>
            </a:r>
            <a:r>
              <a:rPr lang="en-US" err="1"/>
              <a:t>doloremque</a:t>
            </a:r>
            <a:r>
              <a:rPr lang="en-US"/>
              <a:t> </a:t>
            </a:r>
            <a:r>
              <a:rPr lang="en-US" err="1"/>
              <a:t>laudantium</a:t>
            </a:r>
            <a:r>
              <a:rPr lang="en-US"/>
              <a:t>, </a:t>
            </a:r>
            <a:r>
              <a:rPr lang="en-US" err="1"/>
              <a:t>totam</a:t>
            </a:r>
            <a:r>
              <a:rPr lang="en-US"/>
              <a:t> rem </a:t>
            </a:r>
            <a:r>
              <a:rPr lang="en-US" err="1"/>
              <a:t>aperiam</a:t>
            </a:r>
            <a:r>
              <a:rPr lang="en-US"/>
              <a:t>, </a:t>
            </a:r>
            <a:r>
              <a:rPr lang="en-US" err="1"/>
              <a:t>eaque</a:t>
            </a:r>
            <a:r>
              <a:rPr lang="en-US"/>
              <a:t> </a:t>
            </a:r>
            <a:r>
              <a:rPr lang="en-US" err="1"/>
              <a:t>ipsa</a:t>
            </a:r>
            <a:r>
              <a:rPr lang="en-US"/>
              <a:t> </a:t>
            </a:r>
            <a:r>
              <a:rPr lang="en-US" err="1"/>
              <a:t>quae</a:t>
            </a:r>
            <a:r>
              <a:rPr lang="en-US"/>
              <a:t> ab </a:t>
            </a:r>
            <a:r>
              <a:rPr lang="en-US" err="1"/>
              <a:t>illo</a:t>
            </a:r>
            <a:r>
              <a:rPr lang="en-US"/>
              <a:t> </a:t>
            </a:r>
            <a:r>
              <a:rPr lang="en-US" err="1"/>
              <a:t>inventore</a:t>
            </a:r>
            <a:r>
              <a:rPr lang="en-US"/>
              <a:t> </a:t>
            </a:r>
            <a:r>
              <a:rPr lang="en-US" err="1"/>
              <a:t>veritatis</a:t>
            </a:r>
            <a:r>
              <a:rPr lang="en-US"/>
              <a:t> et quasi </a:t>
            </a:r>
            <a:r>
              <a:rPr lang="en-US" err="1"/>
              <a:t>architecto</a:t>
            </a:r>
            <a:r>
              <a:rPr lang="en-US"/>
              <a:t> </a:t>
            </a:r>
            <a:r>
              <a:rPr lang="en-US" err="1"/>
              <a:t>beatae</a:t>
            </a:r>
            <a:r>
              <a:rPr lang="en-US"/>
              <a:t> vitae dicta </a:t>
            </a:r>
            <a:r>
              <a:rPr lang="en-US" err="1"/>
              <a:t>sunt</a:t>
            </a:r>
            <a:r>
              <a:rPr lang="en-US"/>
              <a:t> </a:t>
            </a:r>
            <a:r>
              <a:rPr lang="en-US" err="1"/>
              <a:t>explicabo</a:t>
            </a:r>
            <a:r>
              <a:rPr lang="en-US"/>
              <a:t>. ” </a:t>
            </a:r>
            <a:br>
              <a:rPr lang="en-US"/>
            </a:br>
            <a:r>
              <a:rPr lang="en-US"/>
              <a:t>— Name, Title, Company</a:t>
            </a:r>
          </a:p>
        </p:txBody>
      </p:sp>
      <p:sp>
        <p:nvSpPr>
          <p:cNvPr id="8" name="Picture Placeholder 144">
            <a:extLst>
              <a:ext uri="{FF2B5EF4-FFF2-40B4-BE49-F238E27FC236}">
                <a16:creationId xmlns:a16="http://schemas.microsoft.com/office/drawing/2014/main" id="{487D300D-2EF4-44F7-BBB0-7212CB0FC2C5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202498" y="5760426"/>
            <a:ext cx="2064635" cy="834378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marL="0" indent="0" algn="ctr">
              <a:buNone/>
              <a:defRPr sz="1600">
                <a:solidFill>
                  <a:srgbClr val="7030A0"/>
                </a:solidFill>
              </a:defRPr>
            </a:lvl1pPr>
          </a:lstStyle>
          <a:p>
            <a:r>
              <a:rPr lang="en-US"/>
              <a:t>Drag logo her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58D4DB8-653C-44B7-9244-4A79A3D196C2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0" y="0"/>
            <a:ext cx="12192000" cy="2082800"/>
          </a:xfrm>
          <a:prstGeom prst="rect">
            <a:avLst/>
          </a:prstGeom>
          <a:gradFill>
            <a:gsLst>
              <a:gs pos="100000">
                <a:srgbClr val="000000">
                  <a:alpha val="0"/>
                </a:srgbClr>
              </a:gs>
              <a:gs pos="0">
                <a:srgbClr val="000000">
                  <a:alpha val="56000"/>
                </a:srgbClr>
              </a:gs>
            </a:gsLst>
            <a:lin ang="5400000" scaled="1"/>
          </a:gradFill>
        </p:spPr>
        <p:txBody>
          <a:bodyPr lIns="914400" tIns="0" rIns="731520" bIns="0" anchor="ctr" anchorCtr="0"/>
          <a:lstStyle>
            <a:lvl1pPr marL="0" indent="0">
              <a:buNone/>
              <a:defRPr sz="4400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457200" indent="0">
              <a:buNone/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 marL="914400" indent="0">
              <a:buNone/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3pPr>
            <a:lvl4pPr marL="1371600" indent="0">
              <a:buNone/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4pPr>
            <a:lvl5pPr marL="1828800" indent="0">
              <a:buNone/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7824094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1222439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1272">
          <p15:clr>
            <a:srgbClr val="5ACBF0"/>
          </p15:clr>
        </p15:guide>
        <p15:guide id="2" orient="horz" pos="904">
          <p15:clr>
            <a:srgbClr val="5ACBF0"/>
          </p15:clr>
        </p15:guide>
        <p15:guide id="3" orient="horz" pos="288">
          <p15:clr>
            <a:srgbClr val="5ACBF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5791761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904">
          <p15:clr>
            <a:srgbClr val="5ACBF0"/>
          </p15:clr>
        </p15:guide>
        <p15:guide id="2" orient="horz" pos="1272">
          <p15:clr>
            <a:srgbClr val="5ACBF0"/>
          </p15:clr>
        </p15:guide>
        <p15:guide id="3" orient="horz" pos="288">
          <p15:clr>
            <a:srgbClr val="5ACBF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D0DF2A6-26A8-4810-95DF-F65F123C66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Software code slid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A9F61CF-FF79-485A-A6C8-A1952EFD58A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8263" y="1436688"/>
            <a:ext cx="11018520" cy="1908215"/>
          </a:xfrm>
        </p:spPr>
        <p:txBody>
          <a:bodyPr/>
          <a:lstStyle>
            <a:lvl1pPr marL="0" indent="0">
              <a:buNone/>
              <a:defRPr sz="28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553" indent="0">
              <a:buNone/>
              <a:defRPr sz="24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607" indent="0">
              <a:buNone/>
              <a:defRPr sz="20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563" indent="0">
              <a:buNone/>
              <a:defRPr sz="18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997" indent="0">
              <a:buNone/>
              <a:defRPr sz="18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4886553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1272">
          <p15:clr>
            <a:srgbClr val="5ACBF0"/>
          </p15:clr>
        </p15:guide>
        <p15:guide id="2" orient="horz" pos="905">
          <p15:clr>
            <a:srgbClr val="5ACBF0"/>
          </p15:clr>
        </p15:guide>
        <p15:guide id="3" orient="horz" pos="288">
          <p15:clr>
            <a:srgbClr val="5ACBF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584200" y="6161316"/>
            <a:ext cx="4482124" cy="107722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defTabSz="932290" eaLnBrk="0" hangingPunct="0"/>
            <a:r>
              <a:rPr lang="en-US" sz="70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Copyright Microsoft Corporation. All rights reserved. </a:t>
            </a:r>
          </a:p>
        </p:txBody>
      </p:sp>
      <p:pic>
        <p:nvPicPr>
          <p:cNvPr id="5" name="MS logo white - EMF" descr="Microsoft logo white text version">
            <a:extLst>
              <a:ext uri="{FF2B5EF4-FFF2-40B4-BE49-F238E27FC236}">
                <a16:creationId xmlns:a16="http://schemas.microsoft.com/office/drawing/2014/main" id="{70D3778F-A717-44C8-9013-FF206B15DD6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584200" y="585788"/>
            <a:ext cx="1366245" cy="292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913490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 b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4B6606D-2DF9-48CD-BBE9-B751BF55CD2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white">
          <a:xfrm>
            <a:off x="584200" y="1436688"/>
            <a:ext cx="11018838" cy="2215991"/>
          </a:xfrm>
        </p:spPr>
        <p:txBody>
          <a:bodyPr>
            <a:spAutoFit/>
          </a:bodyPr>
          <a:lstStyle>
            <a:lvl1pPr>
              <a:defRPr sz="3600">
                <a:latin typeface="+mn-lt"/>
              </a:defRPr>
            </a:lvl1pPr>
            <a:lvl2pPr>
              <a:defRPr sz="2800">
                <a:latin typeface="+mn-lt"/>
              </a:defRPr>
            </a:lvl2pPr>
            <a:lvl3pPr>
              <a:defRPr sz="2400">
                <a:latin typeface="+mn-lt"/>
              </a:defRPr>
            </a:lvl3pPr>
            <a:lvl4pPr>
              <a:defRPr sz="2000">
                <a:latin typeface="+mn-lt"/>
              </a:defRPr>
            </a:lvl4pPr>
            <a:lvl5pPr>
              <a:defRPr sz="1800"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Next slide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269038"/>
            <a:ext cx="12192001" cy="588963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45720" anchor="b" anchorCtr="0">
            <a:noAutofit/>
          </a:bodyPr>
          <a:lstStyle>
            <a:lvl1pPr algn="r">
              <a:buFont typeface="Arial" pitchFamily="34" charset="0"/>
              <a:buNone/>
              <a:defRPr sz="3700"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/>
              <a:t>Next:</a:t>
            </a:r>
          </a:p>
        </p:txBody>
      </p:sp>
    </p:spTree>
    <p:extLst>
      <p:ext uri="{BB962C8B-B14F-4D97-AF65-F5344CB8AC3E}">
        <p14:creationId xmlns:p14="http://schemas.microsoft.com/office/powerpoint/2010/main" val="56946362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904">
          <p15:clr>
            <a:srgbClr val="5ACBF0"/>
          </p15:clr>
        </p15:guide>
        <p15:guide id="2" orient="horz" pos="288">
          <p15:clr>
            <a:srgbClr val="5ACBF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MS logo white - EMF" descr="Microsoft logo white text version">
            <a:extLst>
              <a:ext uri="{FF2B5EF4-FFF2-40B4-BE49-F238E27FC236}">
                <a16:creationId xmlns:a16="http://schemas.microsoft.com/office/drawing/2014/main" id="{0FD32619-3819-428A-8565-629596C9141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584200" y="585788"/>
            <a:ext cx="1366245" cy="292608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584200" y="2979778"/>
            <a:ext cx="9144000" cy="553998"/>
          </a:xfrm>
          <a:noFill/>
        </p:spPr>
        <p:txBody>
          <a:bodyPr lIns="0" tIns="0" rIns="0" bIns="0" anchor="b" anchorCtr="0">
            <a:spAutoFit/>
          </a:bodyPr>
          <a:lstStyle>
            <a:lvl1pPr>
              <a:defRPr sz="3600" spc="-50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/>
              <a:t>Event name or presentation title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4200" y="3962400"/>
            <a:ext cx="9144000" cy="307777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/>
              <a:t>Speaker name or subtitle text</a:t>
            </a:r>
          </a:p>
        </p:txBody>
      </p:sp>
    </p:spTree>
    <p:extLst>
      <p:ext uri="{BB962C8B-B14F-4D97-AF65-F5344CB8AC3E}">
        <p14:creationId xmlns:p14="http://schemas.microsoft.com/office/powerpoint/2010/main" val="373479947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228">
          <p15:clr>
            <a:srgbClr val="5ACBF0"/>
          </p15:clr>
        </p15:guide>
        <p15:guide id="2" orient="horz" pos="2496">
          <p15:clr>
            <a:srgbClr val="5ACBF0"/>
          </p15:clr>
        </p15:guide>
        <p15:guide id="3" pos="6132">
          <p15:clr>
            <a:srgbClr val="5ACBF0"/>
          </p15:clr>
        </p15:guide>
        <p15:guide id="4" orient="horz" pos="216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- Square Photo 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4200" y="2025650"/>
            <a:ext cx="4161981" cy="1107996"/>
          </a:xfrm>
        </p:spPr>
        <p:txBody>
          <a:bodyPr wrap="square" rIns="0" anchor="b">
            <a:spAutoFit/>
          </a:bodyPr>
          <a:lstStyle>
            <a:lvl1pPr>
              <a:lnSpc>
                <a:spcPct val="100000"/>
              </a:lnSpc>
              <a:defRPr sz="3600" b="0" spc="-49" baseline="0">
                <a:solidFill>
                  <a:schemeClr val="bg1"/>
                </a:solidFill>
                <a:latin typeface="+mj-lt"/>
                <a:cs typeface="Segoe UI Semilight" panose="020B0402040204020203" pitchFamily="34" charset="0"/>
              </a:defRPr>
            </a:lvl1pPr>
          </a:lstStyle>
          <a:p>
            <a:r>
              <a:rPr lang="en-US"/>
              <a:t>Title format square photo layout 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E780C89-4FC1-4FE7-AFCA-1C41A1B0944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4200" y="3535541"/>
            <a:ext cx="4162425" cy="307777"/>
          </a:xfrm>
        </p:spPr>
        <p:txBody>
          <a:bodyPr/>
          <a:lstStyle>
            <a:lvl1pPr marL="0" indent="0">
              <a:buNone/>
              <a:defRPr sz="2000">
                <a:solidFill>
                  <a:schemeClr val="bg1"/>
                </a:solidFill>
                <a:latin typeface="+mn-lt"/>
              </a:defRPr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61988" indent="0">
              <a:buNone/>
              <a:defRPr/>
            </a:lvl4pPr>
            <a:lvl5pPr marL="855663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Picture Placeholder">
            <a:extLst>
              <a:ext uri="{FF2B5EF4-FFF2-40B4-BE49-F238E27FC236}">
                <a16:creationId xmlns:a16="http://schemas.microsoft.com/office/drawing/2014/main" id="{6178F5D2-7CA2-4202-8FD2-95D8F7A2E98D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5334000" y="0"/>
            <a:ext cx="6858000" cy="6858000"/>
          </a:xfrm>
          <a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 lIns="0" tIns="2011680" rIns="0" anchor="t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1600" b="1">
                <a:solidFill>
                  <a:srgbClr val="FFFFFF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</p:spTree>
    <p:extLst>
      <p:ext uri="{BB962C8B-B14F-4D97-AF65-F5344CB8AC3E}">
        <p14:creationId xmlns:p14="http://schemas.microsoft.com/office/powerpoint/2010/main" val="157995257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pos="3360">
          <p15:clr>
            <a:srgbClr val="FBAE40"/>
          </p15:clr>
        </p15:guide>
        <p15:guide id="6" orient="horz" pos="904">
          <p15:clr>
            <a:srgbClr val="5ACBF0"/>
          </p15:clr>
        </p15:guide>
        <p15:guide id="7" orient="horz" pos="1276">
          <p15:clr>
            <a:srgbClr val="5ACBF0"/>
          </p15:clr>
        </p15:guide>
        <p15:guide id="8" orient="horz" pos="2226">
          <p15:clr>
            <a:srgbClr val="5ACBF0"/>
          </p15:clr>
        </p15:guide>
        <p15:guide id="10" pos="3729">
          <p15:clr>
            <a:srgbClr val="C35EA4"/>
          </p15:clr>
        </p15:guide>
        <p15:guide id="11" pos="2993">
          <p15:clr>
            <a:srgbClr val="5ACBF0"/>
          </p15:clr>
        </p15:guide>
        <p15:guide id="12" pos="3543">
          <p15:clr>
            <a:srgbClr val="A4A3A4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quare Photo 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4200" y="2981637"/>
            <a:ext cx="4160520" cy="861774"/>
          </a:xfrm>
        </p:spPr>
        <p:txBody>
          <a:bodyPr wrap="square" anchor="t">
            <a:spAutoFit/>
          </a:bodyPr>
          <a:lstStyle>
            <a:lvl1pPr>
              <a:lnSpc>
                <a:spcPct val="100000"/>
              </a:lnSpc>
              <a:defRPr sz="2800" b="0" spc="0" baseline="0">
                <a:solidFill>
                  <a:schemeClr val="bg1"/>
                </a:solidFill>
                <a:latin typeface="+mj-lt"/>
                <a:cs typeface="Segoe UI Semilight" panose="020B0402040204020203" pitchFamily="34" charset="0"/>
              </a:defRPr>
            </a:lvl1pPr>
          </a:lstStyle>
          <a:p>
            <a:r>
              <a:rPr lang="en-US"/>
              <a:t>Square photo layout with smaller text</a:t>
            </a:r>
          </a:p>
        </p:txBody>
      </p:sp>
      <p:sp>
        <p:nvSpPr>
          <p:cNvPr id="4" name="Picture Placeholder">
            <a:extLst>
              <a:ext uri="{FF2B5EF4-FFF2-40B4-BE49-F238E27FC236}">
                <a16:creationId xmlns:a16="http://schemas.microsoft.com/office/drawing/2014/main" id="{18102CFD-D7DD-461F-B675-FAE01404E555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5334000" y="0"/>
            <a:ext cx="6858000" cy="6858000"/>
          </a:xfrm>
          <a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 lIns="0" tIns="2011680" rIns="0" anchor="t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1600" b="1">
                <a:solidFill>
                  <a:srgbClr val="FFFFFF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</p:spTree>
    <p:extLst>
      <p:ext uri="{BB962C8B-B14F-4D97-AF65-F5344CB8AC3E}">
        <p14:creationId xmlns:p14="http://schemas.microsoft.com/office/powerpoint/2010/main" val="345355794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pos="3360">
          <p15:clr>
            <a:srgbClr val="FBAE40"/>
          </p15:clr>
        </p15:guide>
        <p15:guide id="3" orient="horz" pos="1877">
          <p15:clr>
            <a:srgbClr val="5ACBF0"/>
          </p15:clr>
        </p15:guide>
        <p15:guide id="4" pos="3731">
          <p15:clr>
            <a:srgbClr val="C35EA4"/>
          </p15:clr>
        </p15:guide>
        <p15:guide id="5" pos="2993">
          <p15:clr>
            <a:srgbClr val="5ACBF0"/>
          </p15:clr>
        </p15:guide>
        <p15:guide id="6" pos="3547">
          <p15:clr>
            <a:srgbClr val="A4A3A4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MS logo gray - EMF" descr="Microsoft logo, gray text version">
            <a:extLst>
              <a:ext uri="{FF2B5EF4-FFF2-40B4-BE49-F238E27FC236}">
                <a16:creationId xmlns:a16="http://schemas.microsoft.com/office/drawing/2014/main" id="{D3453B0B-33DE-4ED0-A610-D76D0E610F6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584200" y="585788"/>
            <a:ext cx="1366440" cy="292608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584200" y="2979778"/>
            <a:ext cx="9144000" cy="553998"/>
          </a:xfrm>
          <a:noFill/>
        </p:spPr>
        <p:txBody>
          <a:bodyPr lIns="0" tIns="0" rIns="0" bIns="0" anchor="b" anchorCtr="0">
            <a:spAutoFit/>
          </a:bodyPr>
          <a:lstStyle>
            <a:lvl1pPr>
              <a:defRPr sz="3600" spc="-50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/>
              <a:t>Event name or presentation title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4200" y="3962400"/>
            <a:ext cx="9144000" cy="307777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/>
              <a:t>Speaker name or subtitle text</a:t>
            </a:r>
          </a:p>
        </p:txBody>
      </p:sp>
    </p:spTree>
    <p:extLst>
      <p:ext uri="{BB962C8B-B14F-4D97-AF65-F5344CB8AC3E}">
        <p14:creationId xmlns:p14="http://schemas.microsoft.com/office/powerpoint/2010/main" val="35365203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228">
          <p15:clr>
            <a:srgbClr val="5ACBF0"/>
          </p15:clr>
        </p15:guide>
        <p15:guide id="2" orient="horz" pos="2496">
          <p15:clr>
            <a:srgbClr val="5ACBF0"/>
          </p15:clr>
        </p15:guide>
        <p15:guide id="3" pos="6132">
          <p15:clr>
            <a:srgbClr val="5ACBF0"/>
          </p15:clr>
        </p15:guide>
        <p15:guide id="4" orient="horz" pos="216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34B655BA-10A4-4A57-89DB-CFFBE1CA1E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6390" y="1434370"/>
            <a:ext cx="11018520" cy="2308324"/>
          </a:xfrm>
        </p:spPr>
        <p:txBody>
          <a:bodyPr wrap="square">
            <a:spAutoFit/>
          </a:bodyPr>
          <a:lstStyle>
            <a:lvl1pPr marL="0" indent="0">
              <a:buNone/>
              <a:defRPr/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78326003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905">
          <p15:clr>
            <a:srgbClr val="5ACBF0"/>
          </p15:clr>
        </p15:guide>
        <p15:guide id="4" orient="horz" pos="1272">
          <p15:clr>
            <a:srgbClr val="5ACBF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FCFEFD-88E5-4869-B5C3-1611B0B50E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584200" y="1435497"/>
            <a:ext cx="11018520" cy="230832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332670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orient="horz" pos="1272">
          <p15:clr>
            <a:srgbClr val="5ACBF0"/>
          </p15:clr>
        </p15:guide>
        <p15:guide id="3" orient="horz" pos="288">
          <p15:clr>
            <a:srgbClr val="5ACBF0"/>
          </p15:clr>
        </p15:guide>
        <p15:guide id="5" orient="horz" pos="904">
          <p15:clr>
            <a:srgbClr val="5ACBF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876633-3E8D-4CF4-A5D4-D4E9D88A6D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4200" y="1435100"/>
            <a:ext cx="5212080" cy="1649682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/>
            </a:lvl2pPr>
            <a:lvl3pPr marL="450850" indent="0">
              <a:buFont typeface="Wingdings" panose="05000000000000000000" pitchFamily="2" charset="2"/>
              <a:buNone/>
              <a:tabLst/>
              <a:defRPr sz="1600" b="0"/>
            </a:lvl3pPr>
            <a:lvl4pPr marL="652462" indent="0">
              <a:buFont typeface="Wingdings" panose="05000000000000000000" pitchFamily="2" charset="2"/>
              <a:buNone/>
              <a:defRPr sz="1400" b="0"/>
            </a:lvl4pPr>
            <a:lvl5pPr marL="854075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8E9CDCB4-03E1-4763-B83E-A1334BCDB0C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97171" y="1435100"/>
            <a:ext cx="5212080" cy="1649682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/>
            </a:lvl2pPr>
            <a:lvl3pPr marL="450850" indent="0">
              <a:buFont typeface="Wingdings" panose="05000000000000000000" pitchFamily="2" charset="2"/>
              <a:buNone/>
              <a:tabLst/>
              <a:defRPr sz="1600" b="0"/>
            </a:lvl3pPr>
            <a:lvl4pPr marL="652462" indent="0">
              <a:buFont typeface="Wingdings" panose="05000000000000000000" pitchFamily="2" charset="2"/>
              <a:buNone/>
              <a:defRPr sz="1400" b="0"/>
            </a:lvl4pPr>
            <a:lvl5pPr marL="854075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9700660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1272">
          <p15:clr>
            <a:srgbClr val="5ACBF0"/>
          </p15:clr>
        </p15:guide>
        <p15:guide id="3" orient="horz" pos="904">
          <p15:clr>
            <a:srgbClr val="5ACBF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2.xml"/><Relationship Id="rId4" Type="http://schemas.openxmlformats.org/officeDocument/2006/relationships/vmlDrawing" Target="../drawings/vmlDrawing1.v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.xml"/><Relationship Id="rId13" Type="http://schemas.openxmlformats.org/officeDocument/2006/relationships/slideLayout" Target="../slideLayouts/slideLayout15.xml"/><Relationship Id="rId18" Type="http://schemas.openxmlformats.org/officeDocument/2006/relationships/slideLayout" Target="../slideLayouts/slideLayout20.xml"/><Relationship Id="rId26" Type="http://schemas.openxmlformats.org/officeDocument/2006/relationships/tags" Target="../tags/tag4.xml"/><Relationship Id="rId3" Type="http://schemas.openxmlformats.org/officeDocument/2006/relationships/slideLayout" Target="../slideLayouts/slideLayout5.xml"/><Relationship Id="rId21" Type="http://schemas.openxmlformats.org/officeDocument/2006/relationships/slideLayout" Target="../slideLayouts/slideLayout23.xml"/><Relationship Id="rId7" Type="http://schemas.openxmlformats.org/officeDocument/2006/relationships/slideLayout" Target="../slideLayouts/slideLayout9.xml"/><Relationship Id="rId12" Type="http://schemas.openxmlformats.org/officeDocument/2006/relationships/slideLayout" Target="../slideLayouts/slideLayout14.xml"/><Relationship Id="rId17" Type="http://schemas.openxmlformats.org/officeDocument/2006/relationships/slideLayout" Target="../slideLayouts/slideLayout19.xml"/><Relationship Id="rId25" Type="http://schemas.openxmlformats.org/officeDocument/2006/relationships/tags" Target="../tags/tag3.xml"/><Relationship Id="rId2" Type="http://schemas.openxmlformats.org/officeDocument/2006/relationships/slideLayout" Target="../slideLayouts/slideLayout4.xml"/><Relationship Id="rId16" Type="http://schemas.openxmlformats.org/officeDocument/2006/relationships/slideLayout" Target="../slideLayouts/slideLayout18.xml"/><Relationship Id="rId20" Type="http://schemas.openxmlformats.org/officeDocument/2006/relationships/slideLayout" Target="../slideLayouts/slideLayout22.xml"/><Relationship Id="rId1" Type="http://schemas.openxmlformats.org/officeDocument/2006/relationships/slideLayout" Target="../slideLayouts/slideLayout3.xml"/><Relationship Id="rId6" Type="http://schemas.openxmlformats.org/officeDocument/2006/relationships/slideLayout" Target="../slideLayouts/slideLayout8.xml"/><Relationship Id="rId11" Type="http://schemas.openxmlformats.org/officeDocument/2006/relationships/slideLayout" Target="../slideLayouts/slideLayout13.xml"/><Relationship Id="rId24" Type="http://schemas.openxmlformats.org/officeDocument/2006/relationships/vmlDrawing" Target="../drawings/vmlDrawing2.vml"/><Relationship Id="rId5" Type="http://schemas.openxmlformats.org/officeDocument/2006/relationships/slideLayout" Target="../slideLayouts/slideLayout7.xml"/><Relationship Id="rId15" Type="http://schemas.openxmlformats.org/officeDocument/2006/relationships/slideLayout" Target="../slideLayouts/slideLayout17.xml"/><Relationship Id="rId23" Type="http://schemas.openxmlformats.org/officeDocument/2006/relationships/theme" Target="../theme/theme2.xml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12.xml"/><Relationship Id="rId19" Type="http://schemas.openxmlformats.org/officeDocument/2006/relationships/slideLayout" Target="../slideLayouts/slideLayout21.xml"/><Relationship Id="rId4" Type="http://schemas.openxmlformats.org/officeDocument/2006/relationships/slideLayout" Target="../slideLayouts/slideLayout6.xml"/><Relationship Id="rId9" Type="http://schemas.openxmlformats.org/officeDocument/2006/relationships/slideLayout" Target="../slideLayouts/slideLayout11.xml"/><Relationship Id="rId14" Type="http://schemas.openxmlformats.org/officeDocument/2006/relationships/slideLayout" Target="../slideLayouts/slideLayout16.xml"/><Relationship Id="rId22" Type="http://schemas.openxmlformats.org/officeDocument/2006/relationships/slideLayout" Target="../slideLayouts/slideLayout24.xml"/><Relationship Id="rId27" Type="http://schemas.openxmlformats.org/officeDocument/2006/relationships/oleObject" Target="../embeddings/oleObject2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0E2DB21-8117-4CBB-8D45-6EFB4E1335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9188355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6" imgW="425" imgH="424" progId="TCLayout.ActiveDocument.1">
                  <p:embed/>
                </p:oleObj>
              </mc:Choice>
              <mc:Fallback>
                <p:oleObj name="think-cell Slide" r:id="rId6" imgW="425" imgH="42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0E2DB21-8117-4CBB-8D45-6EFB4E1335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28600" y="293989"/>
            <a:ext cx="11696700" cy="682195"/>
          </a:xfrm>
          <a:prstGeom prst="rect">
            <a:avLst/>
          </a:prstGeom>
        </p:spPr>
        <p:txBody>
          <a:bodyPr vert="horz" lIns="137160" tIns="91440" rIns="137160" bIns="137160" rtlCol="0" anchor="t">
            <a:noAutofit/>
          </a:bodyPr>
          <a:lstStyle/>
          <a:p>
            <a:endParaRPr lang="en-US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3"/>
          </p:nvPr>
        </p:nvSpPr>
        <p:spPr>
          <a:xfrm>
            <a:off x="228600" y="6553200"/>
            <a:ext cx="11201400" cy="304801"/>
          </a:xfrm>
          <a:prstGeom prst="rect">
            <a:avLst/>
          </a:prstGeom>
        </p:spPr>
        <p:txBody>
          <a:bodyPr vert="horz" lIns="182880" tIns="38089" rIns="76179" bIns="38089" rtlCol="0" anchor="ctr"/>
          <a:lstStyle>
            <a:lvl1pPr algn="l">
              <a:defRPr sz="80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defTabSz="1088078"/>
            <a:endParaRPr lang="en-US">
              <a:solidFill>
                <a:srgbClr val="505050"/>
              </a:solidFill>
            </a:endParaRPr>
          </a:p>
        </p:txBody>
      </p:sp>
      <p:sp>
        <p:nvSpPr>
          <p:cNvPr id="15" name="Text Placeholder 14"/>
          <p:cNvSpPr>
            <a:spLocks noGrp="1"/>
          </p:cNvSpPr>
          <p:nvPr>
            <p:ph type="body" idx="1"/>
          </p:nvPr>
        </p:nvSpPr>
        <p:spPr>
          <a:xfrm>
            <a:off x="228600" y="1600201"/>
            <a:ext cx="11696700" cy="4559531"/>
          </a:xfrm>
          <a:prstGeom prst="rect">
            <a:avLst/>
          </a:prstGeom>
        </p:spPr>
        <p:txBody>
          <a:bodyPr vert="horz" lIns="137160" tIns="91440" rIns="137160" bIns="13716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Slide Number Placeholder 18"/>
          <p:cNvSpPr>
            <a:spLocks noGrp="1"/>
          </p:cNvSpPr>
          <p:nvPr>
            <p:ph type="sldNum" sz="quarter" idx="4"/>
          </p:nvPr>
        </p:nvSpPr>
        <p:spPr>
          <a:xfrm>
            <a:off x="11430002" y="6553200"/>
            <a:ext cx="761999" cy="30480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defTabSz="1088078"/>
            <a:fld id="{FAADACFB-7C71-4E89-89D2-7BBA40B7BFA9}" type="slidenum">
              <a:rPr lang="en-US" smtClean="0">
                <a:solidFill>
                  <a:srgbClr val="505050"/>
                </a:solidFill>
              </a:rPr>
              <a:pPr defTabSz="1088078"/>
              <a:t>‹#›</a:t>
            </a:fld>
            <a:endParaRPr lang="en-US">
              <a:solidFill>
                <a:srgbClr val="505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620148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746" r:id="rId2"/>
  </p:sldLayoutIdLst>
  <p:transition>
    <p:fade/>
  </p:transition>
  <p:hf hdr="0" ftr="0" dt="0"/>
  <p:txStyles>
    <p:titleStyle>
      <a:lvl1pPr marL="0" algn="l" defTabSz="1088078" rtl="0" eaLnBrk="1" latinLnBrk="0" hangingPunct="1">
        <a:lnSpc>
          <a:spcPct val="90000"/>
        </a:lnSpc>
        <a:spcBef>
          <a:spcPct val="0"/>
        </a:spcBef>
        <a:buNone/>
        <a:defRPr lang="en-US" sz="4800" kern="1200" spc="-100" baseline="0" dirty="0">
          <a:solidFill>
            <a:schemeClr val="tx1"/>
          </a:solidFill>
          <a:latin typeface="+mj-lt"/>
          <a:ea typeface="Segoe UI Semibold" panose="020B0702040204020203" pitchFamily="34" charset="0"/>
          <a:cs typeface="Segoe UI Semibold" panose="020B0702040204020203" pitchFamily="34" charset="0"/>
        </a:defRPr>
      </a:lvl1pPr>
    </p:titleStyle>
    <p:bodyStyle>
      <a:lvl1pPr marL="0" indent="0" algn="l" defTabSz="1088078" rtl="0" eaLnBrk="1" latinLnBrk="0" hangingPunct="1">
        <a:spcBef>
          <a:spcPts val="1800"/>
        </a:spcBef>
        <a:buClr>
          <a:srgbClr val="0072C6"/>
        </a:buClr>
        <a:buSzPct val="100000"/>
        <a:buFont typeface="Wingdings" pitchFamily="2" charset="2"/>
        <a:buNone/>
        <a:defRPr sz="2400" kern="1200">
          <a:solidFill>
            <a:schemeClr val="tx1"/>
          </a:solidFill>
          <a:latin typeface="Segoe UI" pitchFamily="34" charset="0"/>
          <a:ea typeface="Segoe UI" pitchFamily="34" charset="0"/>
          <a:cs typeface="Segoe UI" pitchFamily="34" charset="0"/>
        </a:defRPr>
      </a:lvl1pPr>
      <a:lvl2pPr marL="476059" indent="-194391" algn="l" defTabSz="1088078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Segoe UI" pitchFamily="34" charset="0"/>
          <a:ea typeface="Segoe UI" pitchFamily="34" charset="0"/>
          <a:cs typeface="Segoe UI" pitchFamily="34" charset="0"/>
        </a:defRPr>
      </a:lvl2pPr>
      <a:lvl3pPr marL="761693" indent="-173232" algn="l" defTabSz="1088078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/>
          </a:solidFill>
          <a:latin typeface="Segoe UI" pitchFamily="34" charset="0"/>
          <a:ea typeface="Segoe UI" pitchFamily="34" charset="0"/>
          <a:cs typeface="Segoe UI" pitchFamily="34" charset="0"/>
        </a:defRPr>
      </a:lvl3pPr>
      <a:lvl4pPr marL="1047328" indent="-177200" algn="l" defTabSz="1088078" rtl="0" eaLnBrk="1" latinLnBrk="0" hangingPunct="1">
        <a:spcBef>
          <a:spcPct val="20000"/>
        </a:spcBef>
        <a:buFont typeface="Arial" pitchFamily="34" charset="0"/>
        <a:buChar char="–"/>
        <a:defRPr sz="1400" kern="1200">
          <a:solidFill>
            <a:schemeClr val="tx1"/>
          </a:solidFill>
          <a:latin typeface="Segoe UI" pitchFamily="34" charset="0"/>
          <a:ea typeface="Segoe UI" pitchFamily="34" charset="0"/>
          <a:cs typeface="Segoe UI" pitchFamily="34" charset="0"/>
        </a:defRPr>
      </a:lvl4pPr>
      <a:lvl5pPr marL="1285357" indent="-179845" algn="l" defTabSz="1088078" rtl="0" eaLnBrk="1" latinLnBrk="0" hangingPunct="1">
        <a:spcBef>
          <a:spcPct val="20000"/>
        </a:spcBef>
        <a:buFont typeface="Arial" pitchFamily="34" charset="0"/>
        <a:buChar char="»"/>
        <a:defRPr sz="1400" kern="1200">
          <a:solidFill>
            <a:schemeClr val="tx1"/>
          </a:solidFill>
          <a:latin typeface="Segoe UI" pitchFamily="34" charset="0"/>
          <a:ea typeface="Segoe UI" pitchFamily="34" charset="0"/>
          <a:cs typeface="Segoe UI" pitchFamily="34" charset="0"/>
        </a:defRPr>
      </a:lvl5pPr>
      <a:lvl6pPr marL="2992216" indent="-272020" algn="l" defTabSz="1088078" rtl="0" eaLnBrk="1" latinLnBrk="0" hangingPunct="1">
        <a:spcBef>
          <a:spcPct val="20000"/>
        </a:spcBef>
        <a:buFont typeface="Arial" pitchFamily="34" charset="0"/>
        <a:buChar char="•"/>
        <a:defRPr sz="2500" kern="1200">
          <a:solidFill>
            <a:schemeClr val="tx1"/>
          </a:solidFill>
          <a:latin typeface="+mn-lt"/>
          <a:ea typeface="+mn-ea"/>
          <a:cs typeface="+mn-cs"/>
        </a:defRPr>
      </a:lvl6pPr>
      <a:lvl7pPr marL="3536254" indent="-272020" algn="l" defTabSz="1088078" rtl="0" eaLnBrk="1" latinLnBrk="0" hangingPunct="1">
        <a:spcBef>
          <a:spcPct val="20000"/>
        </a:spcBef>
        <a:buFont typeface="Arial" pitchFamily="34" charset="0"/>
        <a:buChar char="•"/>
        <a:defRPr sz="2500" kern="1200">
          <a:solidFill>
            <a:schemeClr val="tx1"/>
          </a:solidFill>
          <a:latin typeface="+mn-lt"/>
          <a:ea typeface="+mn-ea"/>
          <a:cs typeface="+mn-cs"/>
        </a:defRPr>
      </a:lvl7pPr>
      <a:lvl8pPr marL="4080294" indent="-272020" algn="l" defTabSz="1088078" rtl="0" eaLnBrk="1" latinLnBrk="0" hangingPunct="1">
        <a:spcBef>
          <a:spcPct val="20000"/>
        </a:spcBef>
        <a:buFont typeface="Arial" pitchFamily="34" charset="0"/>
        <a:buChar char="•"/>
        <a:defRPr sz="2500" kern="1200">
          <a:solidFill>
            <a:schemeClr val="tx1"/>
          </a:solidFill>
          <a:latin typeface="+mn-lt"/>
          <a:ea typeface="+mn-ea"/>
          <a:cs typeface="+mn-cs"/>
        </a:defRPr>
      </a:lvl8pPr>
      <a:lvl9pPr marL="4624332" indent="-272020" algn="l" defTabSz="1088078" rtl="0" eaLnBrk="1" latinLnBrk="0" hangingPunct="1">
        <a:spcBef>
          <a:spcPct val="20000"/>
        </a:spcBef>
        <a:buFont typeface="Arial" pitchFamily="34" charset="0"/>
        <a:buChar char="•"/>
        <a:defRPr sz="2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88078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544040" algn="l" defTabSz="1088078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2pPr>
      <a:lvl3pPr marL="1088078" algn="l" defTabSz="1088078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632118" algn="l" defTabSz="1088078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4pPr>
      <a:lvl5pPr marL="2176156" algn="l" defTabSz="1088078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5pPr>
      <a:lvl6pPr marL="2720196" algn="l" defTabSz="1088078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6pPr>
      <a:lvl7pPr marL="3264234" algn="l" defTabSz="1088078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7pPr>
      <a:lvl8pPr marL="3808274" algn="l" defTabSz="1088078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8pPr>
      <a:lvl9pPr marL="4352314" algn="l" defTabSz="1088078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551">
          <p15:clr>
            <a:srgbClr val="5ACBF0"/>
          </p15:clr>
        </p15:guide>
        <p15:guide id="2" pos="2976">
          <p15:clr>
            <a:srgbClr val="5ACBF0"/>
          </p15:clr>
        </p15:guide>
        <p15:guide id="3" pos="2424">
          <p15:clr>
            <a:srgbClr val="5ACBF0"/>
          </p15:clr>
        </p15:guide>
        <p15:guide id="4" pos="1848">
          <p15:clr>
            <a:srgbClr val="5ACBF0"/>
          </p15:clr>
        </p15:guide>
        <p15:guide id="5" pos="1296">
          <p15:clr>
            <a:srgbClr val="5ACBF0"/>
          </p15:clr>
        </p15:guide>
        <p15:guide id="6" pos="720">
          <p15:clr>
            <a:srgbClr val="5ACBF0"/>
          </p15:clr>
        </p15:guide>
        <p15:guide id="7" pos="144">
          <p15:clr>
            <a:srgbClr val="5ACBF0"/>
          </p15:clr>
        </p15:guide>
        <p15:guide id="8" pos="4127">
          <p15:clr>
            <a:srgbClr val="5ACBF0"/>
          </p15:clr>
        </p15:guide>
        <p15:guide id="9" pos="4680">
          <p15:clr>
            <a:srgbClr val="5ACBF0"/>
          </p15:clr>
        </p15:guide>
        <p15:guide id="10" pos="5256">
          <p15:clr>
            <a:srgbClr val="5ACBF0"/>
          </p15:clr>
        </p15:guide>
        <p15:guide id="11" pos="5808">
          <p15:clr>
            <a:srgbClr val="5ACBF0"/>
          </p15:clr>
        </p15:guide>
        <p15:guide id="12" pos="6384">
          <p15:clr>
            <a:srgbClr val="5ACBF0"/>
          </p15:clr>
        </p15:guide>
        <p15:guide id="13" pos="6936">
          <p15:clr>
            <a:srgbClr val="5ACBF0"/>
          </p15:clr>
        </p15:guide>
        <p15:guide id="14" pos="7512">
          <p15:clr>
            <a:srgbClr val="5ACBF0"/>
          </p15:clr>
        </p15:guide>
        <p15:guide id="15" orient="horz" pos="168">
          <p15:clr>
            <a:srgbClr val="5ACBF0"/>
          </p15:clr>
        </p15:guide>
        <p15:guide id="16" orient="horz" pos="744">
          <p15:clr>
            <a:srgbClr val="5ACBF0"/>
          </p15:clr>
        </p15:guide>
        <p15:guide id="17" orient="horz" pos="1320">
          <p15:clr>
            <a:srgbClr val="5ACBF0"/>
          </p15:clr>
        </p15:guide>
        <p15:guide id="18" orient="horz" pos="1872">
          <p15:clr>
            <a:srgbClr val="5ACBF0"/>
          </p15:clr>
        </p15:guide>
        <p15:guide id="19" orient="horz" pos="2448">
          <p15:clr>
            <a:srgbClr val="5ACBF0"/>
          </p15:clr>
        </p15:guide>
        <p15:guide id="20" orient="horz" pos="3000">
          <p15:clr>
            <a:srgbClr val="5ACBF0"/>
          </p15:clr>
        </p15:guide>
        <p15:guide id="21" orient="horz" pos="3576">
          <p15:clr>
            <a:srgbClr val="5ACBF0"/>
          </p15:clr>
        </p15:guide>
        <p15:guide id="22" orient="horz" pos="4128">
          <p15:clr>
            <a:srgbClr val="5ACBF0"/>
          </p15:clr>
        </p15:guide>
        <p15:guide id="23" pos="240">
          <p15:clr>
            <a:srgbClr val="F26B43"/>
          </p15:clr>
        </p15:guide>
        <p15:guide id="24" pos="7440">
          <p15:clr>
            <a:srgbClr val="F26B43"/>
          </p15:clr>
        </p15:guide>
        <p15:guide id="25" orient="horz" pos="264">
          <p15:clr>
            <a:srgbClr val="F26B43"/>
          </p15:clr>
        </p15:guide>
        <p15:guide id="26" orient="horz" pos="4032">
          <p15:clr>
            <a:srgbClr val="F26B43"/>
          </p15:clr>
        </p15:guide>
        <p15:guide id="27" pos="3839">
          <p15:clr>
            <a:srgbClr val="F26B43"/>
          </p15:clr>
        </p15:guide>
        <p15:guide id="28" orient="horz" pos="2160">
          <p15:clr>
            <a:srgbClr val="F26B43"/>
          </p15:clr>
        </p15:guide>
        <p15:guide id="29" orient="horz" pos="816">
          <p15:clr>
            <a:srgbClr val="F26B43"/>
          </p15:clr>
        </p15:guide>
        <p15:guide id="30" orient="horz" pos="1008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6CCEAC50-860F-4380-A75A-6071B52683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5"/>
            </p:custDataLst>
            <p:extLst>
              <p:ext uri="{D42A27DB-BD31-4B8C-83A1-F6EECF244321}">
                <p14:modId xmlns:p14="http://schemas.microsoft.com/office/powerpoint/2010/main" val="10957126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27" imgW="425" imgH="424" progId="TCLayout.ActiveDocument.1">
                  <p:embed/>
                </p:oleObj>
              </mc:Choice>
              <mc:Fallback>
                <p:oleObj name="think-cell Slide" r:id="rId27" imgW="425" imgH="42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6CCEAC50-860F-4380-A75A-6071B52683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8B19B54E-098C-411E-8710-5CDAA2BAC9C4}"/>
              </a:ext>
            </a:extLst>
          </p:cNvPr>
          <p:cNvSpPr/>
          <p:nvPr userDrawn="1">
            <p:custDataLst>
              <p:tags r:id="rId26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3600" b="0" i="0" baseline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bold" panose="020B0702040204020203" pitchFamily="34" charset="0"/>
              <a:ea typeface="+mn-ea"/>
              <a:cs typeface="Segoe UI" pitchFamily="34" charset="0"/>
              <a:sym typeface="Segoe UI Semibold" panose="020B0702040204020203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 userDrawn="1">
            <p:ph type="title"/>
          </p:nvPr>
        </p:nvSpPr>
        <p:spPr>
          <a:xfrm>
            <a:off x="588263" y="457200"/>
            <a:ext cx="11018520" cy="4985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 userDrawn="1">
            <p:ph type="body" idx="1"/>
          </p:nvPr>
        </p:nvSpPr>
        <p:spPr>
          <a:xfrm>
            <a:off x="584200" y="1435503"/>
            <a:ext cx="11018520" cy="161274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7" name="GRID" hidden="1">
            <a:extLst>
              <a:ext uri="{FF2B5EF4-FFF2-40B4-BE49-F238E27FC236}">
                <a16:creationId xmlns:a16="http://schemas.microsoft.com/office/drawing/2014/main" id="{32B5FFBF-552A-4973-B5B3-9EE3A765185F}"/>
              </a:ext>
            </a:extLst>
          </p:cNvPr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5CD412E5-2492-4063-96AB-C451FC39F2B6}"/>
                </a:ext>
              </a:extLst>
            </p:cNvPr>
            <p:cNvCxnSpPr/>
            <p:nvPr/>
          </p:nvCxnSpPr>
          <p:spPr>
            <a:xfrm>
              <a:off x="0" y="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D25E7FAE-6A98-413B-871E-10F8DF6FF1E3}"/>
                </a:ext>
              </a:extLst>
            </p:cNvPr>
            <p:cNvCxnSpPr/>
            <p:nvPr/>
          </p:nvCxnSpPr>
          <p:spPr>
            <a:xfrm>
              <a:off x="0" y="29260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EF42BDE7-00A0-446E-9CEE-23DDF6A13E6E}"/>
                </a:ext>
              </a:extLst>
            </p:cNvPr>
            <p:cNvCxnSpPr/>
            <p:nvPr/>
          </p:nvCxnSpPr>
          <p:spPr>
            <a:xfrm>
              <a:off x="0" y="585216"/>
              <a:ext cx="12188952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AD48FF31-9C6A-4C0C-AB96-ED556488A1BA}"/>
                </a:ext>
              </a:extLst>
            </p:cNvPr>
            <p:cNvCxnSpPr/>
            <p:nvPr/>
          </p:nvCxnSpPr>
          <p:spPr>
            <a:xfrm>
              <a:off x="0" y="6272784"/>
              <a:ext cx="12188952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28D811B2-F122-4FF3-A4F6-E7291A5152BB}"/>
                </a:ext>
              </a:extLst>
            </p:cNvPr>
            <p:cNvCxnSpPr/>
            <p:nvPr/>
          </p:nvCxnSpPr>
          <p:spPr>
            <a:xfrm>
              <a:off x="0" y="656539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A2029335-BA6E-4B6F-B752-D02603169DE6}"/>
                </a:ext>
              </a:extLst>
            </p:cNvPr>
            <p:cNvCxnSpPr/>
            <p:nvPr/>
          </p:nvCxnSpPr>
          <p:spPr>
            <a:xfrm>
              <a:off x="0" y="685800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708D55A0-D16C-4191-B9F9-C95B51610B5E}"/>
                </a:ext>
              </a:extLst>
            </p:cNvPr>
            <p:cNvCxnSpPr/>
            <p:nvPr/>
          </p:nvCxnSpPr>
          <p:spPr>
            <a:xfrm>
              <a:off x="0" y="87782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DA3FCB58-9F61-404B-A493-7860A942FCC2}"/>
                </a:ext>
              </a:extLst>
            </p:cNvPr>
            <p:cNvCxnSpPr/>
            <p:nvPr/>
          </p:nvCxnSpPr>
          <p:spPr>
            <a:xfrm>
              <a:off x="0" y="117043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0EFD38DF-4402-499A-B7B2-D5BBF3AD467C}"/>
                </a:ext>
              </a:extLst>
            </p:cNvPr>
            <p:cNvCxnSpPr/>
            <p:nvPr/>
          </p:nvCxnSpPr>
          <p:spPr>
            <a:xfrm>
              <a:off x="0" y="146304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26DFD209-A624-4FEA-8F60-067FBF0CC1E8}"/>
                </a:ext>
              </a:extLst>
            </p:cNvPr>
            <p:cNvCxnSpPr/>
            <p:nvPr/>
          </p:nvCxnSpPr>
          <p:spPr>
            <a:xfrm>
              <a:off x="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F1B8ED61-88C3-48AA-91A7-BFD779B3B3BA}"/>
                </a:ext>
              </a:extLst>
            </p:cNvPr>
            <p:cNvCxnSpPr/>
            <p:nvPr/>
          </p:nvCxnSpPr>
          <p:spPr>
            <a:xfrm>
              <a:off x="585216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822AC47D-49D2-4B9E-B580-53A7922E5654}"/>
                </a:ext>
              </a:extLst>
            </p:cNvPr>
            <p:cNvCxnSpPr/>
            <p:nvPr/>
          </p:nvCxnSpPr>
          <p:spPr>
            <a:xfrm>
              <a:off x="29260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20D7A2DB-4310-49CD-83F6-55B33BE76665}"/>
                </a:ext>
              </a:extLst>
            </p:cNvPr>
            <p:cNvCxnSpPr/>
            <p:nvPr/>
          </p:nvCxnSpPr>
          <p:spPr>
            <a:xfrm>
              <a:off x="877824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20C40071-7BC6-4682-9CD1-0631E07C9F11}"/>
                </a:ext>
              </a:extLst>
            </p:cNvPr>
            <p:cNvCxnSpPr/>
            <p:nvPr/>
          </p:nvCxnSpPr>
          <p:spPr>
            <a:xfrm>
              <a:off x="1170432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EE0ACFAA-26E9-44D2-BEF0-E02CAE93F397}"/>
                </a:ext>
              </a:extLst>
            </p:cNvPr>
            <p:cNvCxnSpPr/>
            <p:nvPr/>
          </p:nvCxnSpPr>
          <p:spPr>
            <a:xfrm>
              <a:off x="1102156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385D1186-93AE-4B67-8544-763E0B213AAC}"/>
                </a:ext>
              </a:extLst>
            </p:cNvPr>
            <p:cNvCxnSpPr/>
            <p:nvPr/>
          </p:nvCxnSpPr>
          <p:spPr>
            <a:xfrm>
              <a:off x="11606784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CB1D45AE-FC53-4BB4-A9CD-C563C03A1195}"/>
                </a:ext>
              </a:extLst>
            </p:cNvPr>
            <p:cNvCxnSpPr/>
            <p:nvPr/>
          </p:nvCxnSpPr>
          <p:spPr>
            <a:xfrm>
              <a:off x="11314176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8325177A-06D9-4C2A-B7EF-984A90245BF7}"/>
                </a:ext>
              </a:extLst>
            </p:cNvPr>
            <p:cNvCxnSpPr/>
            <p:nvPr/>
          </p:nvCxnSpPr>
          <p:spPr>
            <a:xfrm>
              <a:off x="11899392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D2B67796-DF72-4C3B-A79D-7534FD3084C9}"/>
                </a:ext>
              </a:extLst>
            </p:cNvPr>
            <p:cNvCxnSpPr/>
            <p:nvPr/>
          </p:nvCxnSpPr>
          <p:spPr>
            <a:xfrm>
              <a:off x="1219200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C8B2C409-2FF7-4120-9E48-02A446B82DD6}"/>
                </a:ext>
              </a:extLst>
            </p:cNvPr>
            <p:cNvCxnSpPr/>
            <p:nvPr/>
          </p:nvCxnSpPr>
          <p:spPr>
            <a:xfrm>
              <a:off x="0" y="175564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F3E0130A-B11A-42AB-8439-3CB0569F1C08}"/>
                </a:ext>
              </a:extLst>
            </p:cNvPr>
            <p:cNvCxnSpPr/>
            <p:nvPr/>
          </p:nvCxnSpPr>
          <p:spPr>
            <a:xfrm>
              <a:off x="0" y="204825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0840B631-CB23-44B8-823B-56619D54F0E4}"/>
                </a:ext>
              </a:extLst>
            </p:cNvPr>
            <p:cNvCxnSpPr/>
            <p:nvPr/>
          </p:nvCxnSpPr>
          <p:spPr>
            <a:xfrm>
              <a:off x="0" y="234086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C7DD460B-BBE5-43D6-95DF-C1C1CC6239C6}"/>
                </a:ext>
              </a:extLst>
            </p:cNvPr>
            <p:cNvCxnSpPr/>
            <p:nvPr/>
          </p:nvCxnSpPr>
          <p:spPr>
            <a:xfrm>
              <a:off x="0" y="263347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7F5BEEB4-62B8-420A-9489-8319B9432C34}"/>
                </a:ext>
              </a:extLst>
            </p:cNvPr>
            <p:cNvCxnSpPr/>
            <p:nvPr/>
          </p:nvCxnSpPr>
          <p:spPr>
            <a:xfrm>
              <a:off x="0" y="292608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79242164-82A4-4DA9-B78C-33430C241872}"/>
                </a:ext>
              </a:extLst>
            </p:cNvPr>
            <p:cNvCxnSpPr/>
            <p:nvPr/>
          </p:nvCxnSpPr>
          <p:spPr>
            <a:xfrm>
              <a:off x="0" y="321868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1D8767DD-4892-4904-AE72-87087DD9CCC2}"/>
                </a:ext>
              </a:extLst>
            </p:cNvPr>
            <p:cNvCxnSpPr/>
            <p:nvPr/>
          </p:nvCxnSpPr>
          <p:spPr>
            <a:xfrm>
              <a:off x="0" y="351129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245FC793-2AD0-4021-B3FB-391EDDE6CB63}"/>
                </a:ext>
              </a:extLst>
            </p:cNvPr>
            <p:cNvCxnSpPr/>
            <p:nvPr userDrawn="1"/>
          </p:nvCxnSpPr>
          <p:spPr>
            <a:xfrm>
              <a:off x="0" y="380390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8091C6C8-296D-4AA9-8F03-7DEA5FA7D71A}"/>
                </a:ext>
              </a:extLst>
            </p:cNvPr>
            <p:cNvCxnSpPr/>
            <p:nvPr userDrawn="1"/>
          </p:nvCxnSpPr>
          <p:spPr>
            <a:xfrm>
              <a:off x="0" y="409651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71CBDA8A-698A-4B1C-BC41-CD72C2900FE8}"/>
                </a:ext>
              </a:extLst>
            </p:cNvPr>
            <p:cNvCxnSpPr/>
            <p:nvPr userDrawn="1"/>
          </p:nvCxnSpPr>
          <p:spPr>
            <a:xfrm>
              <a:off x="0" y="438912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F0780C82-EF19-43A2-BF1B-31FDFBA092CA}"/>
                </a:ext>
              </a:extLst>
            </p:cNvPr>
            <p:cNvCxnSpPr/>
            <p:nvPr userDrawn="1"/>
          </p:nvCxnSpPr>
          <p:spPr>
            <a:xfrm>
              <a:off x="0" y="468172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13492339-9370-44E2-8C4D-414393DEB764}"/>
                </a:ext>
              </a:extLst>
            </p:cNvPr>
            <p:cNvCxnSpPr/>
            <p:nvPr userDrawn="1"/>
          </p:nvCxnSpPr>
          <p:spPr>
            <a:xfrm>
              <a:off x="0" y="497433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EBF7CE2A-C0A7-4C6F-88B8-E40107AE34E8}"/>
                </a:ext>
              </a:extLst>
            </p:cNvPr>
            <p:cNvCxnSpPr/>
            <p:nvPr userDrawn="1"/>
          </p:nvCxnSpPr>
          <p:spPr>
            <a:xfrm>
              <a:off x="0" y="526694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CCD7A1D0-B060-4037-BFAE-80FAF89CC35F}"/>
                </a:ext>
              </a:extLst>
            </p:cNvPr>
            <p:cNvCxnSpPr/>
            <p:nvPr userDrawn="1"/>
          </p:nvCxnSpPr>
          <p:spPr>
            <a:xfrm>
              <a:off x="0" y="555955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2A121C21-7F60-43D7-B9B4-682B9D22E24D}"/>
                </a:ext>
              </a:extLst>
            </p:cNvPr>
            <p:cNvCxnSpPr/>
            <p:nvPr userDrawn="1"/>
          </p:nvCxnSpPr>
          <p:spPr>
            <a:xfrm>
              <a:off x="0" y="585216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.64 square" hidden="1">
            <a:extLst>
              <a:ext uri="{FF2B5EF4-FFF2-40B4-BE49-F238E27FC236}">
                <a16:creationId xmlns:a16="http://schemas.microsoft.com/office/drawing/2014/main" id="{90E0CE0A-15D7-405F-8DFA-B7F5AF47B03C}"/>
              </a:ext>
            </a:extLst>
          </p:cNvPr>
          <p:cNvSpPr/>
          <p:nvPr userDrawn="1"/>
        </p:nvSpPr>
        <p:spPr bwMode="auto">
          <a:xfrm>
            <a:off x="0" y="0"/>
            <a:ext cx="585216" cy="585216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5" name=".32 square" hidden="1">
            <a:extLst>
              <a:ext uri="{FF2B5EF4-FFF2-40B4-BE49-F238E27FC236}">
                <a16:creationId xmlns:a16="http://schemas.microsoft.com/office/drawing/2014/main" id="{09835393-211C-428D-B22F-51EE7A413599}"/>
              </a:ext>
            </a:extLst>
          </p:cNvPr>
          <p:cNvSpPr/>
          <p:nvPr userDrawn="1"/>
        </p:nvSpPr>
        <p:spPr bwMode="auto">
          <a:xfrm>
            <a:off x="0" y="0"/>
            <a:ext cx="292608" cy="292608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756357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8" r:id="rId1"/>
    <p:sldLayoutId id="2147483749" r:id="rId2"/>
    <p:sldLayoutId id="2147483750" r:id="rId3"/>
    <p:sldLayoutId id="2147483751" r:id="rId4"/>
    <p:sldLayoutId id="2147483752" r:id="rId5"/>
    <p:sldLayoutId id="2147483753" r:id="rId6"/>
    <p:sldLayoutId id="2147483754" r:id="rId7"/>
    <p:sldLayoutId id="2147483755" r:id="rId8"/>
    <p:sldLayoutId id="2147483756" r:id="rId9"/>
    <p:sldLayoutId id="2147483757" r:id="rId10"/>
    <p:sldLayoutId id="2147483758" r:id="rId11"/>
    <p:sldLayoutId id="2147483759" r:id="rId12"/>
    <p:sldLayoutId id="2147483760" r:id="rId13"/>
    <p:sldLayoutId id="2147483761" r:id="rId14"/>
    <p:sldLayoutId id="2147483762" r:id="rId15"/>
    <p:sldLayoutId id="2147483763" r:id="rId16"/>
    <p:sldLayoutId id="2147483764" r:id="rId17"/>
    <p:sldLayoutId id="2147483765" r:id="rId18"/>
    <p:sldLayoutId id="2147483766" r:id="rId19"/>
    <p:sldLayoutId id="2147483767" r:id="rId20"/>
    <p:sldLayoutId id="2147483768" r:id="rId21"/>
    <p:sldLayoutId id="2147483769" r:id="rId22"/>
  </p:sldLayoutIdLst>
  <p:transition>
    <p:fade/>
  </p:transition>
  <p:hf hdr="0" ftr="0" dt="0"/>
  <p:txStyles>
    <p:titleStyle>
      <a:lvl1pPr algn="l" defTabSz="932742" rtl="0" eaLnBrk="1" latinLnBrk="0" hangingPunct="1">
        <a:lnSpc>
          <a:spcPct val="90000"/>
        </a:lnSpc>
        <a:spcBef>
          <a:spcPct val="0"/>
        </a:spcBef>
        <a:buNone/>
        <a:defRPr lang="en-US" sz="3600" b="0" kern="1200" cap="none" spc="-5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228600" marR="0" indent="-228600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Segoe UI Semilight" panose="020B0402040204020203" pitchFamily="34" charset="0"/>
          <a:ea typeface="+mn-ea"/>
          <a:cs typeface="Segoe UI Semilight" panose="020B0402040204020203" pitchFamily="34" charset="0"/>
        </a:defRPr>
      </a:lvl1pPr>
      <a:lvl2pPr marL="457200" marR="0" indent="-228600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657225" marR="0" indent="-20002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6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842963" marR="0" indent="-18097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023938" marR="0" indent="-16827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6" pos="368">
          <p15:clr>
            <a:srgbClr val="C35EA4"/>
          </p15:clr>
        </p15:guide>
        <p15:guide id="17" pos="7313">
          <p15:clr>
            <a:srgbClr val="C35EA4"/>
          </p15:clr>
        </p15:guide>
        <p15:guide id="25" orient="horz" pos="369">
          <p15:clr>
            <a:srgbClr val="C35EA4"/>
          </p15:clr>
        </p15:guide>
        <p15:guide id="26" orient="horz" pos="3949">
          <p15:clr>
            <a:srgbClr val="C35EA4"/>
          </p15:clr>
        </p15:guide>
        <p15:guide id="27" orient="horz" pos="184">
          <p15:clr>
            <a:srgbClr val="A4A3A4"/>
          </p15:clr>
        </p15:guide>
        <p15:guide id="28" pos="185">
          <p15:clr>
            <a:srgbClr val="A4A3A4"/>
          </p15:clr>
        </p15:guide>
        <p15:guide id="29" orient="horz" pos="4135">
          <p15:clr>
            <a:srgbClr val="A4A3A4"/>
          </p15:clr>
        </p15:guide>
        <p15:guide id="30" pos="7495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6.xml"/><Relationship Id="rId7" Type="http://schemas.openxmlformats.org/officeDocument/2006/relationships/oleObject" Target="../embeddings/oleObject3.bin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5.jpeg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20.xml"/><Relationship Id="rId9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4" name="Picture 83">
            <a:extLst>
              <a:ext uri="{FF2B5EF4-FFF2-40B4-BE49-F238E27FC236}">
                <a16:creationId xmlns:a16="http://schemas.microsoft.com/office/drawing/2014/main" id="{14832D92-9AC4-4494-B294-7867D3E29CC5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r="3704" b="1850"/>
          <a:stretch/>
        </p:blipFill>
        <p:spPr>
          <a:xfrm>
            <a:off x="-1" y="-1"/>
            <a:ext cx="12192001" cy="6857999"/>
          </a:xfrm>
          <a:prstGeom prst="rect">
            <a:avLst/>
          </a:prstGeom>
        </p:spPr>
      </p:pic>
      <p:sp>
        <p:nvSpPr>
          <p:cNvPr id="21" name="Rectangle 53">
            <a:extLst>
              <a:ext uri="{FF2B5EF4-FFF2-40B4-BE49-F238E27FC236}">
                <a16:creationId xmlns:a16="http://schemas.microsoft.com/office/drawing/2014/main" id="{D5D0F4D8-685D-4887-B11C-3DFD2F3E9982}"/>
              </a:ext>
            </a:extLst>
          </p:cNvPr>
          <p:cNvSpPr/>
          <p:nvPr/>
        </p:nvSpPr>
        <p:spPr bwMode="auto">
          <a:xfrm flipH="1">
            <a:off x="10137500" y="-15083"/>
            <a:ext cx="2047239" cy="6890595"/>
          </a:xfrm>
          <a:prstGeom prst="rect">
            <a:avLst/>
          </a:prstGeom>
          <a:solidFill>
            <a:schemeClr val="accent1">
              <a:alpha val="90000"/>
            </a:schemeClr>
          </a:solidFill>
          <a:ln w="6350"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86" name="Rectangle 53">
            <a:extLst>
              <a:ext uri="{FF2B5EF4-FFF2-40B4-BE49-F238E27FC236}">
                <a16:creationId xmlns:a16="http://schemas.microsoft.com/office/drawing/2014/main" id="{1AD83CA1-5006-41E6-BF66-4284EF08FB15}"/>
              </a:ext>
            </a:extLst>
          </p:cNvPr>
          <p:cNvSpPr/>
          <p:nvPr/>
        </p:nvSpPr>
        <p:spPr bwMode="auto">
          <a:xfrm flipH="1">
            <a:off x="2940" y="-14516"/>
            <a:ext cx="3400659" cy="6873088"/>
          </a:xfrm>
          <a:prstGeom prst="rect">
            <a:avLst/>
          </a:prstGeom>
          <a:solidFill>
            <a:schemeClr val="accent2">
              <a:alpha val="90000"/>
            </a:schemeClr>
          </a:solidFill>
          <a:ln w="6350"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graphicFrame>
        <p:nvGraphicFramePr>
          <p:cNvPr id="37" name="Object 36" hidden="1">
            <a:extLst>
              <a:ext uri="{FF2B5EF4-FFF2-40B4-BE49-F238E27FC236}">
                <a16:creationId xmlns:a16="http://schemas.microsoft.com/office/drawing/2014/main" id="{18B97B3F-DB91-44A0-AE99-1AF06B3AE7D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83068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7" imgW="425" imgH="424" progId="TCLayout.ActiveDocument.1">
                  <p:embed/>
                </p:oleObj>
              </mc:Choice>
              <mc:Fallback>
                <p:oleObj name="think-cell Slide" r:id="rId7" imgW="425" imgH="424" progId="TCLayout.ActiveDocument.1">
                  <p:embed/>
                  <p:pic>
                    <p:nvPicPr>
                      <p:cNvPr id="37" name="Object 36" hidden="1">
                        <a:extLst>
                          <a:ext uri="{FF2B5EF4-FFF2-40B4-BE49-F238E27FC236}">
                            <a16:creationId xmlns:a16="http://schemas.microsoft.com/office/drawing/2014/main" id="{18B97B3F-DB91-44A0-AE99-1AF06B3AE7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8" name="Rectangle 37" hidden="1">
            <a:extLst>
              <a:ext uri="{FF2B5EF4-FFF2-40B4-BE49-F238E27FC236}">
                <a16:creationId xmlns:a16="http://schemas.microsoft.com/office/drawing/2014/main" id="{E7EEC02A-597F-4F79-B097-420EAA01A371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36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 Semibold" panose="020B0702040204020203" pitchFamily="34" charset="0"/>
              <a:ea typeface="+mn-ea"/>
              <a:cs typeface="Segoe UI" panose="020B0502040204020203" pitchFamily="34" charset="0"/>
              <a:sym typeface="Segoe UI Semibold" panose="020B0702040204020203" pitchFamily="34" charset="0"/>
            </a:endParaRPr>
          </a:p>
        </p:txBody>
      </p:sp>
      <p:sp>
        <p:nvSpPr>
          <p:cNvPr id="56" name="Rectangle 53">
            <a:extLst>
              <a:ext uri="{FF2B5EF4-FFF2-40B4-BE49-F238E27FC236}">
                <a16:creationId xmlns:a16="http://schemas.microsoft.com/office/drawing/2014/main" id="{674EC609-F05C-4B52-AB7E-2AF7AC373828}"/>
              </a:ext>
            </a:extLst>
          </p:cNvPr>
          <p:cNvSpPr/>
          <p:nvPr/>
        </p:nvSpPr>
        <p:spPr bwMode="auto">
          <a:xfrm flipH="1">
            <a:off x="3393416" y="0"/>
            <a:ext cx="3629683" cy="6858000"/>
          </a:xfrm>
          <a:prstGeom prst="rect">
            <a:avLst/>
          </a:prstGeom>
          <a:solidFill>
            <a:schemeClr val="bg1">
              <a:lumMod val="95000"/>
              <a:alpha val="90000"/>
            </a:schemeClr>
          </a:solidFill>
          <a:ln w="6350"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85" name="Oval 84">
            <a:extLst>
              <a:ext uri="{FF2B5EF4-FFF2-40B4-BE49-F238E27FC236}">
                <a16:creationId xmlns:a16="http://schemas.microsoft.com/office/drawing/2014/main" id="{DBFAC6BF-0A57-4150-8AF2-B2C743D65D03}"/>
              </a:ext>
            </a:extLst>
          </p:cNvPr>
          <p:cNvSpPr/>
          <p:nvPr/>
        </p:nvSpPr>
        <p:spPr bwMode="auto">
          <a:xfrm>
            <a:off x="5202187" y="2526326"/>
            <a:ext cx="1650725" cy="1898650"/>
          </a:xfrm>
          <a:prstGeom prst="ellipse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20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74" name="Rectangle 53">
            <a:extLst>
              <a:ext uri="{FF2B5EF4-FFF2-40B4-BE49-F238E27FC236}">
                <a16:creationId xmlns:a16="http://schemas.microsoft.com/office/drawing/2014/main" id="{D61F0434-AABB-4148-9A45-EA5E2D71891B}"/>
              </a:ext>
            </a:extLst>
          </p:cNvPr>
          <p:cNvSpPr/>
          <p:nvPr/>
        </p:nvSpPr>
        <p:spPr bwMode="auto">
          <a:xfrm flipH="1">
            <a:off x="7020476" y="-1"/>
            <a:ext cx="3117642" cy="6873088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57" name="Rectangle 53">
            <a:extLst>
              <a:ext uri="{FF2B5EF4-FFF2-40B4-BE49-F238E27FC236}">
                <a16:creationId xmlns:a16="http://schemas.microsoft.com/office/drawing/2014/main" id="{61E68FED-2FCB-41AE-9F03-4E45E6F20017}"/>
              </a:ext>
            </a:extLst>
          </p:cNvPr>
          <p:cNvSpPr/>
          <p:nvPr/>
        </p:nvSpPr>
        <p:spPr bwMode="auto">
          <a:xfrm flipH="1">
            <a:off x="7073900" y="76200"/>
            <a:ext cx="2950464" cy="2536492"/>
          </a:xfrm>
          <a:prstGeom prst="rect">
            <a:avLst/>
          </a:prstGeom>
          <a:noFill/>
          <a:ln w="6350">
            <a:noFill/>
            <a:headEnd type="arrow" w="lg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71450" marR="0" lvl="0" indent="-171450" algn="l" defTabSz="932472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r-fr" sz="1000" b="0" i="0" u="none" strike="noStrike" kern="1200" cap="none" spc="0" normalizeH="0" baseline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rPr>
              <a:t>Protégez-vous contre tous les scénarios d</a:t>
            </a:r>
            <a:r>
              <a:rPr kumimoji="0" lang="fr-FR" sz="1000" b="0" i="0" u="none" strike="noStrike" kern="1200" cap="none" spc="0" normalizeH="0" baseline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rPr>
              <a:t>’</a:t>
            </a:r>
            <a:r>
              <a:rPr kumimoji="0" lang="fr-fr" sz="1000" b="0" i="0" u="none" strike="noStrike" kern="1200" cap="none" spc="0" normalizeH="0" baseline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rPr>
              <a:t>intrusion en recourant à un seul fournisseur et un seul tableau de bord, et en éliminant toute infrastructure de sécurité IT supplémentaire. </a:t>
            </a:r>
          </a:p>
          <a:p>
            <a:pPr marL="171450" marR="0" lvl="0" indent="-171450" algn="l" defTabSz="932472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r-fr" sz="1000" b="0" i="0" u="none" strike="noStrike" kern="1200" cap="none" spc="0" normalizeH="0" baseline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rPr>
              <a:t>Favorisez la coordination de la protection, de la détection, de la réponse et de la prévention sur les solutions Microsoft et tierces depuis une seule et même plateforme.</a:t>
            </a:r>
          </a:p>
          <a:p>
            <a:pPr marL="171450" marR="0" lvl="0" indent="-171450" algn="l" defTabSz="932472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r-fr" sz="1000" b="0" i="0" u="none" strike="noStrike" kern="1200" cap="none" spc="0" normalizeH="0" baseline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rPr>
              <a:t>Gérez en toute sécurité les ID et les accès sur les appareils.</a:t>
            </a:r>
          </a:p>
          <a:p>
            <a:pPr marL="171450" marR="0" lvl="0" indent="-171450" algn="l" defTabSz="932472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r-fr" sz="1000" b="0" i="0" u="none" strike="noStrike" kern="1200" cap="none" spc="0" normalizeH="0" baseline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rPr>
              <a:t>Réduisez les coûts des licences jusqu</a:t>
            </a:r>
            <a:r>
              <a:rPr kumimoji="0" lang="fr-FR" sz="1000" b="0" i="0" u="none" strike="noStrike" kern="1200" cap="none" spc="0" normalizeH="0" baseline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rPr>
              <a:t>’</a:t>
            </a:r>
            <a:r>
              <a:rPr kumimoji="0" lang="fr-fr" sz="1000" b="0" i="0" u="none" strike="noStrike" kern="1200" cap="none" spc="0" normalizeH="0" baseline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rPr>
              <a:t>à 52 % avec les solutions de cloud intégrées, qui offrent un TCO bien inférieur aux approches en patchwork. </a:t>
            </a:r>
          </a:p>
        </p:txBody>
      </p:sp>
      <p:sp>
        <p:nvSpPr>
          <p:cNvPr id="58" name="Rectangle 53">
            <a:extLst>
              <a:ext uri="{FF2B5EF4-FFF2-40B4-BE49-F238E27FC236}">
                <a16:creationId xmlns:a16="http://schemas.microsoft.com/office/drawing/2014/main" id="{FED2B228-B38C-44A5-880C-C91755FF2636}"/>
              </a:ext>
            </a:extLst>
          </p:cNvPr>
          <p:cNvSpPr/>
          <p:nvPr/>
        </p:nvSpPr>
        <p:spPr bwMode="auto">
          <a:xfrm flipH="1">
            <a:off x="7073900" y="2744646"/>
            <a:ext cx="2950464" cy="1614307"/>
          </a:xfrm>
          <a:prstGeom prst="rect">
            <a:avLst/>
          </a:prstGeom>
          <a:noFill/>
          <a:ln w="6350">
            <a:noFill/>
            <a:headEnd type="arrow" w="lg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71450" marR="0" lvl="0" indent="-171450" algn="l" defTabSz="932472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r-fr" sz="1000" b="0" i="0" u="none" strike="noStrike" kern="1200" cap="none" spc="0" normalizeH="0" baseline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/>
                <a:ea typeface="+mn-ea"/>
                <a:cs typeface="Segoe UI" pitchFamily="34" charset="0"/>
              </a:rPr>
              <a:t>Protégez-vous contre les autres infrastructures cloud et sur site lorsque les organisations passent aux clouds publics.</a:t>
            </a:r>
          </a:p>
          <a:p>
            <a:pPr marL="171450" marR="0" lvl="0" indent="-171450" algn="l" defTabSz="932472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r-fr" sz="1000" b="0" i="0" u="none" strike="noStrike" kern="1200" cap="none" spc="0" normalizeH="0" baseline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/>
                <a:ea typeface="+mn-ea"/>
                <a:cs typeface="Segoe UI" pitchFamily="34" charset="0"/>
              </a:rPr>
              <a:t>Renforcez vos données de sécurité et adaptez-vous à leur multiplication. </a:t>
            </a:r>
          </a:p>
          <a:p>
            <a:pPr marL="171450" marR="0" lvl="0" indent="-171450" algn="l" defTabSz="932472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r-fr" sz="1000" b="0" i="0" u="none" strike="noStrike" kern="1200" cap="none" spc="0" normalizeH="0" baseline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/>
                <a:ea typeface="+mn-ea"/>
                <a:cs typeface="Segoe UI" pitchFamily="34" charset="0"/>
              </a:rPr>
              <a:t>Accélérez les résultats en matière de sécurité tout en réduisant les coûts du matériel et des opérations.</a:t>
            </a:r>
          </a:p>
        </p:txBody>
      </p:sp>
      <p:sp>
        <p:nvSpPr>
          <p:cNvPr id="59" name="Rectangle 53">
            <a:extLst>
              <a:ext uri="{FF2B5EF4-FFF2-40B4-BE49-F238E27FC236}">
                <a16:creationId xmlns:a16="http://schemas.microsoft.com/office/drawing/2014/main" id="{54FCAE7D-422B-4E2D-A0E6-7157FB700FD0}"/>
              </a:ext>
            </a:extLst>
          </p:cNvPr>
          <p:cNvSpPr/>
          <p:nvPr/>
        </p:nvSpPr>
        <p:spPr bwMode="auto">
          <a:xfrm flipH="1">
            <a:off x="7073900" y="4442897"/>
            <a:ext cx="2950464" cy="2199203"/>
          </a:xfrm>
          <a:prstGeom prst="rect">
            <a:avLst/>
          </a:prstGeom>
          <a:noFill/>
          <a:ln w="6350">
            <a:noFill/>
            <a:headEnd type="arrow" w="lg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71450" marR="0" lvl="0" indent="-171450" algn="l" defTabSz="932472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r-fr" sz="1000" b="0" i="0" u="none" strike="noStrike" kern="1200" cap="none" spc="0" normalizeH="0" baseline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rPr>
              <a:t>Meilleur classement dans cinq catégories </a:t>
            </a:r>
            <a:br>
              <a:rPr kumimoji="0" lang="fr-FR" sz="1000" b="0" i="0" u="none" strike="noStrike" kern="1200" cap="none" spc="0" normalizeH="0" baseline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rPr>
            </a:br>
            <a:r>
              <a:rPr kumimoji="0" lang="fr-fr" sz="1000" b="0" i="0" u="none" strike="noStrike" kern="1200" cap="none" spc="0" normalizeH="0" baseline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rPr>
              <a:t>de solutions de sécurité.</a:t>
            </a:r>
          </a:p>
          <a:p>
            <a:pPr marL="171450" marR="0" lvl="0" indent="-171450" algn="l" defTabSz="932472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r-fr" sz="1000" b="0" i="0" u="none" strike="noStrike" kern="1200" cap="none" spc="0" normalizeH="0" baseline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rPr>
              <a:t>Bénéficiez de la tranquillité d</a:t>
            </a:r>
            <a:r>
              <a:rPr kumimoji="0" lang="fr-FR" sz="1000" b="0" i="0" u="none" strike="noStrike" kern="1200" cap="none" spc="0" normalizeH="0" baseline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rPr>
              <a:t>’</a:t>
            </a:r>
            <a:r>
              <a:rPr kumimoji="0" lang="fr-fr" sz="1000" b="0" i="0" u="none" strike="noStrike" kern="1200" cap="none" spc="0" normalizeH="0" baseline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rPr>
              <a:t>esprit assurée par l</a:t>
            </a:r>
            <a:r>
              <a:rPr kumimoji="0" lang="fr-FR" sz="1000" b="0" i="0" u="none" strike="noStrike" kern="1200" cap="none" spc="0" normalizeH="0" baseline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rPr>
              <a:t>’</a:t>
            </a:r>
            <a:r>
              <a:rPr kumimoji="0" lang="fr-fr" sz="1000" b="0" i="0" u="none" strike="noStrike" kern="1200" cap="none" spc="0" normalizeH="0" baseline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rPr>
              <a:t>historique irréprochable de Microsoft Security. </a:t>
            </a:r>
          </a:p>
          <a:p>
            <a:pPr marL="171450" marR="0" lvl="0" indent="-171450" algn="l" defTabSz="932472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r-fr" sz="1000" b="0" i="0" u="none" strike="noStrike" kern="1200" cap="none" spc="0" normalizeH="0" baseline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rPr>
              <a:t>Faites confiance à des ressources qui traitent plus de données que la concurrence.</a:t>
            </a:r>
          </a:p>
          <a:p>
            <a:pPr marL="171450" marR="0" lvl="0" indent="-171450" algn="l" defTabSz="932472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r-fr" sz="1000" b="0" i="0" u="none" strike="noStrike" kern="1200" cap="none" spc="0" normalizeH="0" baseline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rPr>
              <a:t>Combattez les menaces avec divers outils : surveillance de la configuration, </a:t>
            </a:r>
            <a:r>
              <a:rPr kumimoji="0" lang="fr-FR" sz="1000" b="0" i="0" u="none" strike="noStrike" kern="1200" cap="none" spc="0" normalizeH="0" baseline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rPr>
              <a:t>EDR</a:t>
            </a:r>
            <a:r>
              <a:rPr kumimoji="0" lang="fr-fr" sz="1000" b="0" i="0" u="none" strike="noStrike" kern="1200" cap="none" spc="0" normalizeH="0" baseline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rPr>
              <a:t>, contrôle des applications et segmentation réseau (avec prise en charge des conteneurs et charges de travail sans serveur).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070860B6-D40B-4EE1-904C-0B9065939391}"/>
              </a:ext>
            </a:extLst>
          </p:cNvPr>
          <p:cNvCxnSpPr/>
          <p:nvPr/>
        </p:nvCxnSpPr>
        <p:spPr>
          <a:xfrm>
            <a:off x="7159383" y="2696635"/>
            <a:ext cx="2978735" cy="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  <a:prstDash val="dash"/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Straight Connector 66">
            <a:extLst>
              <a:ext uri="{FF2B5EF4-FFF2-40B4-BE49-F238E27FC236}">
                <a16:creationId xmlns:a16="http://schemas.microsoft.com/office/drawing/2014/main" id="{90CF5C13-5A3F-4A17-B50D-6BA41095AA94}"/>
              </a:ext>
            </a:extLst>
          </p:cNvPr>
          <p:cNvCxnSpPr/>
          <p:nvPr/>
        </p:nvCxnSpPr>
        <p:spPr>
          <a:xfrm>
            <a:off x="7159383" y="4443942"/>
            <a:ext cx="2978735" cy="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  <a:prstDash val="dash"/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Straight Connector 75">
            <a:extLst>
              <a:ext uri="{FF2B5EF4-FFF2-40B4-BE49-F238E27FC236}">
                <a16:creationId xmlns:a16="http://schemas.microsoft.com/office/drawing/2014/main" id="{D904F5BF-6AA8-4EDD-9B6D-319CEFB822FA}"/>
              </a:ext>
            </a:extLst>
          </p:cNvPr>
          <p:cNvCxnSpPr/>
          <p:nvPr/>
        </p:nvCxnSpPr>
        <p:spPr>
          <a:xfrm>
            <a:off x="9804400" y="2682257"/>
            <a:ext cx="333718" cy="0"/>
          </a:xfrm>
          <a:prstGeom prst="line">
            <a:avLst/>
          </a:prstGeom>
          <a:ln w="38100">
            <a:solidFill>
              <a:schemeClr val="accent1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Straight Connector 76">
            <a:extLst>
              <a:ext uri="{FF2B5EF4-FFF2-40B4-BE49-F238E27FC236}">
                <a16:creationId xmlns:a16="http://schemas.microsoft.com/office/drawing/2014/main" id="{C92A2CE9-609D-4137-A8B4-E75F5EE6CFE9}"/>
              </a:ext>
            </a:extLst>
          </p:cNvPr>
          <p:cNvCxnSpPr/>
          <p:nvPr/>
        </p:nvCxnSpPr>
        <p:spPr>
          <a:xfrm>
            <a:off x="9804400" y="4443942"/>
            <a:ext cx="333718" cy="0"/>
          </a:xfrm>
          <a:prstGeom prst="line">
            <a:avLst/>
          </a:prstGeom>
          <a:ln w="38100">
            <a:solidFill>
              <a:schemeClr val="accent1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Oval 64">
            <a:extLst>
              <a:ext uri="{FF2B5EF4-FFF2-40B4-BE49-F238E27FC236}">
                <a16:creationId xmlns:a16="http://schemas.microsoft.com/office/drawing/2014/main" id="{59D5A365-D7B3-4CE7-B8EB-EF2762B91614}"/>
              </a:ext>
            </a:extLst>
          </p:cNvPr>
          <p:cNvSpPr/>
          <p:nvPr/>
        </p:nvSpPr>
        <p:spPr bwMode="auto">
          <a:xfrm>
            <a:off x="3565120" y="4495800"/>
            <a:ext cx="1790954" cy="1922681"/>
          </a:xfrm>
          <a:prstGeom prst="ellipse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20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6" name="Oval 65">
            <a:extLst>
              <a:ext uri="{FF2B5EF4-FFF2-40B4-BE49-F238E27FC236}">
                <a16:creationId xmlns:a16="http://schemas.microsoft.com/office/drawing/2014/main" id="{A1A687A5-B24E-4FD4-B2C1-B08BCA4DAF51}"/>
              </a:ext>
            </a:extLst>
          </p:cNvPr>
          <p:cNvSpPr/>
          <p:nvPr/>
        </p:nvSpPr>
        <p:spPr bwMode="auto">
          <a:xfrm>
            <a:off x="3565120" y="539750"/>
            <a:ext cx="1650725" cy="1898650"/>
          </a:xfrm>
          <a:prstGeom prst="ellipse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20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Arrow: U-Turn 3">
            <a:extLst>
              <a:ext uri="{FF2B5EF4-FFF2-40B4-BE49-F238E27FC236}">
                <a16:creationId xmlns:a16="http://schemas.microsoft.com/office/drawing/2014/main" id="{3B05BA95-D8E7-4354-A3AD-B957C06219F6}"/>
              </a:ext>
            </a:extLst>
          </p:cNvPr>
          <p:cNvSpPr/>
          <p:nvPr/>
        </p:nvSpPr>
        <p:spPr bwMode="auto">
          <a:xfrm rot="16200000">
            <a:off x="3514493" y="541022"/>
            <a:ext cx="1982911" cy="1899792"/>
          </a:xfrm>
          <a:prstGeom prst="uturnArrow">
            <a:avLst>
              <a:gd name="adj1" fmla="val 25000"/>
              <a:gd name="adj2" fmla="val 0"/>
              <a:gd name="adj3" fmla="val 25000"/>
              <a:gd name="adj4" fmla="val 68138"/>
              <a:gd name="adj5" fmla="val 100000"/>
            </a:avLst>
          </a:prstGeom>
          <a:solidFill>
            <a:schemeClr val="accent1"/>
          </a:solidFill>
          <a:ln w="25400">
            <a:solidFill>
              <a:schemeClr val="accent2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20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9" name="Arrow: U-Turn 18">
            <a:extLst>
              <a:ext uri="{FF2B5EF4-FFF2-40B4-BE49-F238E27FC236}">
                <a16:creationId xmlns:a16="http://schemas.microsoft.com/office/drawing/2014/main" id="{411D4C47-3B17-4F8C-BBA8-A88E293EAD68}"/>
              </a:ext>
            </a:extLst>
          </p:cNvPr>
          <p:cNvSpPr/>
          <p:nvPr/>
        </p:nvSpPr>
        <p:spPr bwMode="auto">
          <a:xfrm rot="5400000" flipH="1">
            <a:off x="4717046" y="2333999"/>
            <a:ext cx="1982906" cy="2279650"/>
          </a:xfrm>
          <a:prstGeom prst="uturnArrow">
            <a:avLst>
              <a:gd name="adj1" fmla="val 25000"/>
              <a:gd name="adj2" fmla="val 0"/>
              <a:gd name="adj3" fmla="val 25000"/>
              <a:gd name="adj4" fmla="val 50000"/>
              <a:gd name="adj5" fmla="val 75000"/>
            </a:avLst>
          </a:prstGeom>
          <a:solidFill>
            <a:schemeClr val="bg1"/>
          </a:solidFill>
          <a:ln w="25400">
            <a:solidFill>
              <a:schemeClr val="accent2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20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0" name="Arrow: U-Turn 19">
            <a:extLst>
              <a:ext uri="{FF2B5EF4-FFF2-40B4-BE49-F238E27FC236}">
                <a16:creationId xmlns:a16="http://schemas.microsoft.com/office/drawing/2014/main" id="{5B5557A3-B3E8-4006-961E-1D5088E68C19}"/>
              </a:ext>
            </a:extLst>
          </p:cNvPr>
          <p:cNvSpPr/>
          <p:nvPr/>
        </p:nvSpPr>
        <p:spPr bwMode="auto">
          <a:xfrm rot="16200000">
            <a:off x="3532872" y="4488455"/>
            <a:ext cx="1982911" cy="1936549"/>
          </a:xfrm>
          <a:prstGeom prst="uturnArrow">
            <a:avLst>
              <a:gd name="adj1" fmla="val 25000"/>
              <a:gd name="adj2" fmla="val 0"/>
              <a:gd name="adj3" fmla="val 0"/>
              <a:gd name="adj4" fmla="val 74660"/>
              <a:gd name="adj5" fmla="val 75000"/>
            </a:avLst>
          </a:prstGeom>
          <a:solidFill>
            <a:schemeClr val="accent1"/>
          </a:solidFill>
          <a:ln w="25400">
            <a:solidFill>
              <a:schemeClr val="accent2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20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9FECC336-3D36-4332-927D-CFC391A0A1B4}"/>
              </a:ext>
            </a:extLst>
          </p:cNvPr>
          <p:cNvSpPr/>
          <p:nvPr/>
        </p:nvSpPr>
        <p:spPr bwMode="auto">
          <a:xfrm>
            <a:off x="4227336" y="-1"/>
            <a:ext cx="1949702" cy="6858001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>
            <a:outerShdw blurRad="50800" dist="38100" dir="5400000" algn="ctr" rotWithShape="0">
              <a:schemeClr val="bg1">
                <a:lumMod val="75000"/>
                <a:alpha val="40000"/>
              </a:scheme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2000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87" name="Rectangle 86">
            <a:extLst>
              <a:ext uri="{FF2B5EF4-FFF2-40B4-BE49-F238E27FC236}">
                <a16:creationId xmlns:a16="http://schemas.microsoft.com/office/drawing/2014/main" id="{3DE7BA97-6A2A-46F1-970A-FF532A8E847E}"/>
              </a:ext>
            </a:extLst>
          </p:cNvPr>
          <p:cNvSpPr/>
          <p:nvPr/>
        </p:nvSpPr>
        <p:spPr bwMode="auto">
          <a:xfrm>
            <a:off x="4227336" y="-1"/>
            <a:ext cx="1949702" cy="6858001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>
            <a:outerShdw blurRad="50800" dist="38100" dir="5400000" algn="ctr" rotWithShape="0">
              <a:schemeClr val="bg1">
                <a:lumMod val="75000"/>
                <a:alpha val="40000"/>
              </a:scheme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2000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cxnSp>
        <p:nvCxnSpPr>
          <p:cNvPr id="88" name="Straight Connector 87">
            <a:extLst>
              <a:ext uri="{FF2B5EF4-FFF2-40B4-BE49-F238E27FC236}">
                <a16:creationId xmlns:a16="http://schemas.microsoft.com/office/drawing/2014/main" id="{1BD35802-CFF4-4B59-B18A-647768F54A5B}"/>
              </a:ext>
            </a:extLst>
          </p:cNvPr>
          <p:cNvCxnSpPr/>
          <p:nvPr/>
        </p:nvCxnSpPr>
        <p:spPr>
          <a:xfrm>
            <a:off x="4448354" y="2454721"/>
            <a:ext cx="1507666" cy="0"/>
          </a:xfrm>
          <a:prstGeom prst="line">
            <a:avLst/>
          </a:prstGeom>
          <a:ln>
            <a:gradFill flip="none" rotWithShape="1">
              <a:gsLst>
                <a:gs pos="0">
                  <a:schemeClr val="bg1"/>
                </a:gs>
                <a:gs pos="50000">
                  <a:schemeClr val="bg1">
                    <a:lumMod val="75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0" scaled="1"/>
              <a:tileRect/>
            </a:gradFill>
            <a:prstDash val="solid"/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Straight Connector 88">
            <a:extLst>
              <a:ext uri="{FF2B5EF4-FFF2-40B4-BE49-F238E27FC236}">
                <a16:creationId xmlns:a16="http://schemas.microsoft.com/office/drawing/2014/main" id="{122AD411-797E-4EC9-9418-B7B145ECB553}"/>
              </a:ext>
            </a:extLst>
          </p:cNvPr>
          <p:cNvCxnSpPr/>
          <p:nvPr/>
        </p:nvCxnSpPr>
        <p:spPr>
          <a:xfrm>
            <a:off x="4448354" y="4482584"/>
            <a:ext cx="1507666" cy="0"/>
          </a:xfrm>
          <a:prstGeom prst="line">
            <a:avLst/>
          </a:prstGeom>
          <a:ln>
            <a:gradFill flip="none" rotWithShape="1">
              <a:gsLst>
                <a:gs pos="0">
                  <a:schemeClr val="bg1"/>
                </a:gs>
                <a:gs pos="50000">
                  <a:schemeClr val="bg1">
                    <a:lumMod val="75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0" scaled="1"/>
              <a:tileRect/>
            </a:gradFill>
            <a:prstDash val="solid"/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Rectangle 53">
            <a:extLst>
              <a:ext uri="{FF2B5EF4-FFF2-40B4-BE49-F238E27FC236}">
                <a16:creationId xmlns:a16="http://schemas.microsoft.com/office/drawing/2014/main" id="{0C9CC4C6-6B61-4711-849A-A60E9CEF1728}"/>
              </a:ext>
            </a:extLst>
          </p:cNvPr>
          <p:cNvSpPr/>
          <p:nvPr/>
        </p:nvSpPr>
        <p:spPr bwMode="auto">
          <a:xfrm>
            <a:off x="4302620" y="1037251"/>
            <a:ext cx="1799134" cy="907335"/>
          </a:xfrm>
          <a:prstGeom prst="rect">
            <a:avLst/>
          </a:prstGeom>
          <a:noFill/>
          <a:ln w="6350"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1" i="0" u="none" strike="noStrike" kern="1200" cap="none" spc="0" normalizeH="0" baseline="0">
                <a:ln>
                  <a:noFill/>
                </a:ln>
                <a:solidFill>
                  <a:srgbClr val="0078D4"/>
                </a:solidFill>
                <a:effectLst/>
                <a:uLnTx/>
                <a:uFillTx/>
                <a:latin typeface="Segoe UI Semibold"/>
                <a:ea typeface="+mn-ea"/>
                <a:cs typeface="Segoe UI" pitchFamily="34" charset="0"/>
              </a:rPr>
              <a:t>Réduisez les coûts avec une solution intégrée</a:t>
            </a:r>
          </a:p>
        </p:txBody>
      </p:sp>
      <p:sp>
        <p:nvSpPr>
          <p:cNvPr id="55" name="Rectangle 53">
            <a:extLst>
              <a:ext uri="{FF2B5EF4-FFF2-40B4-BE49-F238E27FC236}">
                <a16:creationId xmlns:a16="http://schemas.microsoft.com/office/drawing/2014/main" id="{0CA8732F-F032-4B68-879D-66E0CFFD8C56}"/>
              </a:ext>
            </a:extLst>
          </p:cNvPr>
          <p:cNvSpPr/>
          <p:nvPr/>
        </p:nvSpPr>
        <p:spPr bwMode="auto">
          <a:xfrm>
            <a:off x="4242738" y="3052363"/>
            <a:ext cx="1872312" cy="907335"/>
          </a:xfrm>
          <a:prstGeom prst="rect">
            <a:avLst/>
          </a:prstGeom>
          <a:noFill/>
          <a:ln w="6350"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1" i="0" u="none" strike="noStrike" kern="1200" cap="none" spc="0" normalizeH="0" baseline="0">
                <a:ln>
                  <a:noFill/>
                </a:ln>
                <a:solidFill>
                  <a:srgbClr val="0078D4"/>
                </a:solidFill>
                <a:effectLst/>
                <a:uLnTx/>
                <a:uFillTx/>
                <a:latin typeface="Segoe UI Semibold"/>
                <a:ea typeface="+mn-ea"/>
                <a:cs typeface="Segoe UI" pitchFamily="34" charset="0"/>
              </a:rPr>
              <a:t>Sécurisez efficacement les environnements hybrides</a:t>
            </a:r>
          </a:p>
        </p:txBody>
      </p:sp>
      <p:sp>
        <p:nvSpPr>
          <p:cNvPr id="63" name="Rectangle 53">
            <a:extLst>
              <a:ext uri="{FF2B5EF4-FFF2-40B4-BE49-F238E27FC236}">
                <a16:creationId xmlns:a16="http://schemas.microsoft.com/office/drawing/2014/main" id="{A75FA09E-046E-408D-AC19-E99F311C3457}"/>
              </a:ext>
            </a:extLst>
          </p:cNvPr>
          <p:cNvSpPr/>
          <p:nvPr/>
        </p:nvSpPr>
        <p:spPr bwMode="auto">
          <a:xfrm>
            <a:off x="4315370" y="4958900"/>
            <a:ext cx="1727048" cy="907335"/>
          </a:xfrm>
          <a:prstGeom prst="rect">
            <a:avLst/>
          </a:prstGeom>
          <a:noFill/>
          <a:ln w="6350"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1" i="0" u="none" strike="noStrike" kern="1200" cap="none" spc="0" normalizeH="0" baseline="0">
                <a:ln>
                  <a:noFill/>
                </a:ln>
                <a:solidFill>
                  <a:srgbClr val="0078D4"/>
                </a:solidFill>
                <a:effectLst/>
                <a:uLnTx/>
                <a:uFillTx/>
                <a:latin typeface="Segoe UI Semibold"/>
                <a:ea typeface="+mn-ea"/>
                <a:cs typeface="Segoe UI" pitchFamily="34" charset="0"/>
              </a:rPr>
              <a:t>Faites confiance à la solution de sécurité la plus utilisée et la plus fiable au monde</a:t>
            </a:r>
          </a:p>
        </p:txBody>
      </p:sp>
      <p:cxnSp>
        <p:nvCxnSpPr>
          <p:cNvPr id="71" name="Straight Connector 70">
            <a:extLst>
              <a:ext uri="{FF2B5EF4-FFF2-40B4-BE49-F238E27FC236}">
                <a16:creationId xmlns:a16="http://schemas.microsoft.com/office/drawing/2014/main" id="{5F8986CE-8AFF-4B41-A83A-03EF717A3B70}"/>
              </a:ext>
            </a:extLst>
          </p:cNvPr>
          <p:cNvCxnSpPr/>
          <p:nvPr/>
        </p:nvCxnSpPr>
        <p:spPr>
          <a:xfrm>
            <a:off x="4448354" y="2454721"/>
            <a:ext cx="1507666" cy="0"/>
          </a:xfrm>
          <a:prstGeom prst="line">
            <a:avLst/>
          </a:prstGeom>
          <a:ln>
            <a:gradFill flip="none" rotWithShape="1">
              <a:gsLst>
                <a:gs pos="0">
                  <a:schemeClr val="bg1"/>
                </a:gs>
                <a:gs pos="50000">
                  <a:schemeClr val="bg1">
                    <a:lumMod val="75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0" scaled="1"/>
              <a:tileRect/>
            </a:gradFill>
            <a:prstDash val="solid"/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Straight Connector 71">
            <a:extLst>
              <a:ext uri="{FF2B5EF4-FFF2-40B4-BE49-F238E27FC236}">
                <a16:creationId xmlns:a16="http://schemas.microsoft.com/office/drawing/2014/main" id="{FF25B789-B805-4F38-97F6-2BCD42A4FAE3}"/>
              </a:ext>
            </a:extLst>
          </p:cNvPr>
          <p:cNvCxnSpPr/>
          <p:nvPr/>
        </p:nvCxnSpPr>
        <p:spPr>
          <a:xfrm>
            <a:off x="4448354" y="4482584"/>
            <a:ext cx="1507666" cy="0"/>
          </a:xfrm>
          <a:prstGeom prst="line">
            <a:avLst/>
          </a:prstGeom>
          <a:ln>
            <a:gradFill flip="none" rotWithShape="1">
              <a:gsLst>
                <a:gs pos="0">
                  <a:schemeClr val="bg1"/>
                </a:gs>
                <a:gs pos="50000">
                  <a:schemeClr val="bg1">
                    <a:lumMod val="75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0" scaled="1"/>
              <a:tileRect/>
            </a:gradFill>
            <a:prstDash val="solid"/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Isosceles Triangle 78">
            <a:extLst>
              <a:ext uri="{FF2B5EF4-FFF2-40B4-BE49-F238E27FC236}">
                <a16:creationId xmlns:a16="http://schemas.microsoft.com/office/drawing/2014/main" id="{4361D547-683D-44AE-920E-FC9CC759C524}"/>
              </a:ext>
            </a:extLst>
          </p:cNvPr>
          <p:cNvSpPr/>
          <p:nvPr/>
        </p:nvSpPr>
        <p:spPr bwMode="auto">
          <a:xfrm rot="10800000">
            <a:off x="5019081" y="2451179"/>
            <a:ext cx="252062" cy="161512"/>
          </a:xfrm>
          <a:prstGeom prst="triangle">
            <a:avLst/>
          </a:prstGeom>
          <a:solidFill>
            <a:schemeClr val="bg1">
              <a:lumMod val="7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20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81" name="Isosceles Triangle 80">
            <a:extLst>
              <a:ext uri="{FF2B5EF4-FFF2-40B4-BE49-F238E27FC236}">
                <a16:creationId xmlns:a16="http://schemas.microsoft.com/office/drawing/2014/main" id="{743FB4C3-96BD-40A7-826C-C78E4CBEA42E}"/>
              </a:ext>
            </a:extLst>
          </p:cNvPr>
          <p:cNvSpPr/>
          <p:nvPr/>
        </p:nvSpPr>
        <p:spPr bwMode="auto">
          <a:xfrm rot="10800000">
            <a:off x="5019081" y="4489441"/>
            <a:ext cx="252062" cy="161512"/>
          </a:xfrm>
          <a:prstGeom prst="triangle">
            <a:avLst/>
          </a:prstGeom>
          <a:solidFill>
            <a:schemeClr val="bg1">
              <a:lumMod val="7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20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04" name="MS logo white - EMF" descr="Microsoft logo white text version">
            <a:extLst>
              <a:ext uri="{FF2B5EF4-FFF2-40B4-BE49-F238E27FC236}">
                <a16:creationId xmlns:a16="http://schemas.microsoft.com/office/drawing/2014/main" id="{94FF2D0A-FF7B-417E-8A3D-B85621DF0EE3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588263" y="601434"/>
            <a:ext cx="1366245" cy="292608"/>
          </a:xfrm>
          <a:prstGeom prst="rect">
            <a:avLst/>
          </a:prstGeom>
        </p:spPr>
      </p:pic>
      <p:sp>
        <p:nvSpPr>
          <p:cNvPr id="49" name="Title 3">
            <a:extLst>
              <a:ext uri="{FF2B5EF4-FFF2-40B4-BE49-F238E27FC236}">
                <a16:creationId xmlns:a16="http://schemas.microsoft.com/office/drawing/2014/main" id="{B5EFF7AE-2C9F-4F18-B2F0-97F7CE2DFC97}"/>
              </a:ext>
            </a:extLst>
          </p:cNvPr>
          <p:cNvSpPr txBox="1">
            <a:spLocks/>
          </p:cNvSpPr>
          <p:nvPr/>
        </p:nvSpPr>
        <p:spPr>
          <a:xfrm>
            <a:off x="486663" y="1879599"/>
            <a:ext cx="2950021" cy="3098800"/>
          </a:xfrm>
          <a:prstGeom prst="rect">
            <a:avLst/>
          </a:prstGeom>
        </p:spPr>
        <p:txBody>
          <a:bodyPr anchor="ctr"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fr-fr" sz="3600" b="0" kern="1200" cap="none" spc="-50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marL="0" marR="0" lvl="0" indent="0" algn="l" defTabSz="932742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800" b="0" i="0" u="none" strike="noStrike" kern="1200" cap="none" spc="-50" normalizeH="0" baseline="0" dirty="0">
                <a:ln w="3175"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/>
                <a:ea typeface="+mn-ea"/>
                <a:cs typeface="Segoe UI" pitchFamily="34" charset="0"/>
              </a:rPr>
              <a:t>Une meilleure sécurité à moindre coût, avec l</a:t>
            </a:r>
            <a:r>
              <a:rPr kumimoji="0" lang="fr-FR" sz="2800" b="0" i="0" u="none" strike="noStrike" kern="1200" cap="none" spc="-50" normalizeH="0" baseline="0" dirty="0">
                <a:ln w="3175"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/>
                <a:ea typeface="+mn-ea"/>
                <a:cs typeface="Segoe UI" pitchFamily="34" charset="0"/>
              </a:rPr>
              <a:t>’</a:t>
            </a:r>
            <a:r>
              <a:rPr kumimoji="0" lang="fr-fr" sz="2800" b="0" i="0" u="none" strike="noStrike" kern="1200" cap="none" spc="-50" normalizeH="0" baseline="0" dirty="0">
                <a:ln w="3175"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/>
                <a:ea typeface="+mn-ea"/>
                <a:cs typeface="Segoe UI" pitchFamily="34" charset="0"/>
              </a:rPr>
              <a:t>expertise </a:t>
            </a:r>
            <a:br>
              <a:rPr kumimoji="0" lang="fr-FR" sz="2800" b="0" i="0" u="none" strike="noStrike" kern="1200" cap="none" spc="-50" normalizeH="0" baseline="0" dirty="0">
                <a:ln w="3175"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/>
                <a:ea typeface="+mn-ea"/>
                <a:cs typeface="Segoe UI" pitchFamily="34" charset="0"/>
              </a:rPr>
            </a:br>
            <a:r>
              <a:rPr kumimoji="0" lang="fr-fr" sz="2800" b="0" i="0" u="none" strike="noStrike" kern="1200" cap="none" spc="-50" normalizeH="0" baseline="0" dirty="0">
                <a:ln w="3175"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/>
                <a:ea typeface="+mn-ea"/>
                <a:cs typeface="Segoe UI" pitchFamily="34" charset="0"/>
              </a:rPr>
              <a:t>et la puissance des solutions Microsoft</a:t>
            </a:r>
          </a:p>
        </p:txBody>
      </p:sp>
      <p:sp>
        <p:nvSpPr>
          <p:cNvPr id="75" name="Title 3">
            <a:extLst>
              <a:ext uri="{FF2B5EF4-FFF2-40B4-BE49-F238E27FC236}">
                <a16:creationId xmlns:a16="http://schemas.microsoft.com/office/drawing/2014/main" id="{8F2BA130-ECED-4880-8499-258543262BB7}"/>
              </a:ext>
            </a:extLst>
          </p:cNvPr>
          <p:cNvSpPr txBox="1">
            <a:spLocks/>
          </p:cNvSpPr>
          <p:nvPr/>
        </p:nvSpPr>
        <p:spPr>
          <a:xfrm>
            <a:off x="10113264" y="1887143"/>
            <a:ext cx="2072602" cy="3098800"/>
          </a:xfrm>
          <a:prstGeom prst="rect">
            <a:avLst/>
          </a:prstGeom>
        </p:spPr>
        <p:txBody>
          <a:bodyPr anchor="ctr"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fr-fr" sz="3600" b="0" kern="1200" cap="none" spc="-50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marL="0" marR="0" lvl="0" indent="0" algn="ctr" defTabSz="932742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0" i="0" u="none" strike="noStrike" kern="1200" cap="none" spc="-50" normalizeH="0" baseline="0" dirty="0">
                <a:ln w="3175"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/>
                <a:ea typeface="+mn-ea"/>
                <a:cs typeface="Segoe UI" pitchFamily="34" charset="0"/>
              </a:rPr>
              <a:t>Simplifiez et renforcez votre sécurité avec Microsoft</a:t>
            </a:r>
          </a:p>
        </p:txBody>
      </p:sp>
      <p:sp>
        <p:nvSpPr>
          <p:cNvPr id="83" name="Freeform: Shape 82">
            <a:extLst>
              <a:ext uri="{FF2B5EF4-FFF2-40B4-BE49-F238E27FC236}">
                <a16:creationId xmlns:a16="http://schemas.microsoft.com/office/drawing/2014/main" id="{A4833516-B741-41E0-A538-5F08771D5FEF}"/>
              </a:ext>
            </a:extLst>
          </p:cNvPr>
          <p:cNvSpPr/>
          <p:nvPr/>
        </p:nvSpPr>
        <p:spPr bwMode="auto">
          <a:xfrm>
            <a:off x="10546118" y="5727700"/>
            <a:ext cx="1645882" cy="828314"/>
          </a:xfrm>
          <a:custGeom>
            <a:avLst/>
            <a:gdLst>
              <a:gd name="connsiteX0" fmla="*/ 414157 w 1645882"/>
              <a:gd name="connsiteY0" fmla="*/ 0 h 828314"/>
              <a:gd name="connsiteX1" fmla="*/ 1645882 w 1645882"/>
              <a:gd name="connsiteY1" fmla="*/ 0 h 828314"/>
              <a:gd name="connsiteX2" fmla="*/ 1645882 w 1645882"/>
              <a:gd name="connsiteY2" fmla="*/ 828314 h 828314"/>
              <a:gd name="connsiteX3" fmla="*/ 414157 w 1645882"/>
              <a:gd name="connsiteY3" fmla="*/ 828314 h 828314"/>
              <a:gd name="connsiteX4" fmla="*/ 0 w 1645882"/>
              <a:gd name="connsiteY4" fmla="*/ 414157 h 828314"/>
              <a:gd name="connsiteX5" fmla="*/ 414157 w 1645882"/>
              <a:gd name="connsiteY5" fmla="*/ 0 h 8283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645882" h="828314">
                <a:moveTo>
                  <a:pt x="414157" y="0"/>
                </a:moveTo>
                <a:lnTo>
                  <a:pt x="1645882" y="0"/>
                </a:lnTo>
                <a:lnTo>
                  <a:pt x="1645882" y="828314"/>
                </a:lnTo>
                <a:lnTo>
                  <a:pt x="414157" y="828314"/>
                </a:lnTo>
                <a:cubicBezTo>
                  <a:pt x="185424" y="828314"/>
                  <a:pt x="0" y="642890"/>
                  <a:pt x="0" y="414157"/>
                </a:cubicBezTo>
                <a:cubicBezTo>
                  <a:pt x="0" y="185424"/>
                  <a:pt x="185424" y="0"/>
                  <a:pt x="414157" y="0"/>
                </a:cubicBezTo>
                <a:close/>
              </a:path>
            </a:pathLst>
          </a:cu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20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16654BE4-4DCA-4B66-A51F-84794EB4B08B}"/>
              </a:ext>
            </a:extLst>
          </p:cNvPr>
          <p:cNvSpPr/>
          <p:nvPr/>
        </p:nvSpPr>
        <p:spPr>
          <a:xfrm>
            <a:off x="10708534" y="5817314"/>
            <a:ext cx="1572366" cy="720197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 algn="l" defTabSz="932472" rtl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200" b="0" i="1" u="none" baseline="0" dirty="0">
                <a:ea typeface="+mn-lt"/>
                <a:cs typeface="+mn-lt"/>
              </a:rPr>
              <a:t>Contactez votre partenaire Microsoft pour en savoir </a:t>
            </a:r>
            <a:r>
              <a:rPr kumimoji="0" lang="fr-fr" sz="1200" b="0" i="1" u="none" strike="noStrike" kern="1200" cap="none" spc="0" normalizeH="0" baseline="0" dirty="0">
                <a:ln>
                  <a:noFill/>
                </a:ln>
                <a:effectLst/>
                <a:uLnTx/>
                <a:uFillTx/>
                <a:ea typeface="+mn-lt"/>
                <a:cs typeface="+mn-lt"/>
              </a:rPr>
              <a:t>plus.</a:t>
            </a:r>
          </a:p>
          <a:p>
            <a:pPr algn="l" defTabSz="932472" rtl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fr-fr" sz="1200" dirty="0">
              <a:ea typeface="+mn-lt"/>
              <a:cs typeface="+mn-lt"/>
            </a:endParaRPr>
          </a:p>
        </p:txBody>
      </p:sp>
      <p:grpSp>
        <p:nvGrpSpPr>
          <p:cNvPr id="36" name="Graphic 43">
            <a:extLst>
              <a:ext uri="{FF2B5EF4-FFF2-40B4-BE49-F238E27FC236}">
                <a16:creationId xmlns:a16="http://schemas.microsoft.com/office/drawing/2014/main" id="{9EF13DE0-9CF8-4D74-9802-4F93ADDD3475}"/>
              </a:ext>
            </a:extLst>
          </p:cNvPr>
          <p:cNvGrpSpPr/>
          <p:nvPr/>
        </p:nvGrpSpPr>
        <p:grpSpPr>
          <a:xfrm>
            <a:off x="3708741" y="1216216"/>
            <a:ext cx="427408" cy="545718"/>
            <a:chOff x="6115364" y="3363998"/>
            <a:chExt cx="204033" cy="260510"/>
          </a:xfrm>
        </p:grpSpPr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E07A5CB1-2C97-4CD8-A6A5-310D5D21C77F}"/>
                </a:ext>
              </a:extLst>
            </p:cNvPr>
            <p:cNvSpPr/>
            <p:nvPr/>
          </p:nvSpPr>
          <p:spPr>
            <a:xfrm>
              <a:off x="6269201" y="3437152"/>
              <a:ext cx="50196" cy="187356"/>
            </a:xfrm>
            <a:custGeom>
              <a:avLst/>
              <a:gdLst>
                <a:gd name="connsiteX0" fmla="*/ 49625 w 50196"/>
                <a:gd name="connsiteY0" fmla="*/ 16383 h 187356"/>
                <a:gd name="connsiteX1" fmla="*/ 13811 w 50196"/>
                <a:gd name="connsiteY1" fmla="*/ 16383 h 187356"/>
                <a:gd name="connsiteX2" fmla="*/ 667 w 50196"/>
                <a:gd name="connsiteY2" fmla="*/ 28861 h 187356"/>
                <a:gd name="connsiteX3" fmla="*/ 13811 w 50196"/>
                <a:gd name="connsiteY3" fmla="*/ 40767 h 187356"/>
                <a:gd name="connsiteX4" fmla="*/ 36481 w 50196"/>
                <a:gd name="connsiteY4" fmla="*/ 41339 h 187356"/>
                <a:gd name="connsiteX5" fmla="*/ 50197 w 50196"/>
                <a:gd name="connsiteY5" fmla="*/ 53245 h 187356"/>
                <a:gd name="connsiteX6" fmla="*/ 36481 w 50196"/>
                <a:gd name="connsiteY6" fmla="*/ 65151 h 187356"/>
                <a:gd name="connsiteX7" fmla="*/ 0 w 50196"/>
                <a:gd name="connsiteY7" fmla="*/ 65151 h 187356"/>
                <a:gd name="connsiteX8" fmla="*/ 25146 w 50196"/>
                <a:gd name="connsiteY8" fmla="*/ 0 h 187356"/>
                <a:gd name="connsiteX9" fmla="*/ 25146 w 50196"/>
                <a:gd name="connsiteY9" fmla="*/ 82296 h 187356"/>
                <a:gd name="connsiteX10" fmla="*/ 24193 w 50196"/>
                <a:gd name="connsiteY10" fmla="*/ 133826 h 187356"/>
                <a:gd name="connsiteX11" fmla="*/ 24193 w 50196"/>
                <a:gd name="connsiteY11" fmla="*/ 184214 h 187356"/>
                <a:gd name="connsiteX12" fmla="*/ 46291 w 50196"/>
                <a:gd name="connsiteY12" fmla="*/ 162687 h 187356"/>
                <a:gd name="connsiteX13" fmla="*/ 23813 w 50196"/>
                <a:gd name="connsiteY13" fmla="*/ 187357 h 187356"/>
                <a:gd name="connsiteX14" fmla="*/ 23813 w 50196"/>
                <a:gd name="connsiteY14" fmla="*/ 187357 h 187356"/>
                <a:gd name="connsiteX15" fmla="*/ 1715 w 50196"/>
                <a:gd name="connsiteY15" fmla="*/ 162687 h 1873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0196" h="187356">
                  <a:moveTo>
                    <a:pt x="49625" y="16383"/>
                  </a:moveTo>
                  <a:cubicBezTo>
                    <a:pt x="49625" y="16383"/>
                    <a:pt x="49625" y="16383"/>
                    <a:pt x="13811" y="16383"/>
                  </a:cubicBezTo>
                  <a:cubicBezTo>
                    <a:pt x="6667" y="16383"/>
                    <a:pt x="667" y="22098"/>
                    <a:pt x="667" y="28861"/>
                  </a:cubicBezTo>
                  <a:cubicBezTo>
                    <a:pt x="667" y="35147"/>
                    <a:pt x="6667" y="40767"/>
                    <a:pt x="13811" y="40767"/>
                  </a:cubicBezTo>
                  <a:cubicBezTo>
                    <a:pt x="13811" y="40767"/>
                    <a:pt x="13811" y="40767"/>
                    <a:pt x="36481" y="41339"/>
                  </a:cubicBezTo>
                  <a:cubicBezTo>
                    <a:pt x="44291" y="41339"/>
                    <a:pt x="50197" y="46482"/>
                    <a:pt x="50197" y="53245"/>
                  </a:cubicBezTo>
                  <a:cubicBezTo>
                    <a:pt x="50197" y="60008"/>
                    <a:pt x="44196" y="65151"/>
                    <a:pt x="36481" y="65151"/>
                  </a:cubicBezTo>
                  <a:cubicBezTo>
                    <a:pt x="36481" y="65151"/>
                    <a:pt x="36481" y="65151"/>
                    <a:pt x="0" y="65151"/>
                  </a:cubicBezTo>
                  <a:moveTo>
                    <a:pt x="25146" y="0"/>
                  </a:moveTo>
                  <a:cubicBezTo>
                    <a:pt x="25146" y="82296"/>
                    <a:pt x="25146" y="82296"/>
                    <a:pt x="25146" y="82296"/>
                  </a:cubicBezTo>
                  <a:moveTo>
                    <a:pt x="24193" y="133826"/>
                  </a:moveTo>
                  <a:lnTo>
                    <a:pt x="24193" y="184214"/>
                  </a:lnTo>
                  <a:moveTo>
                    <a:pt x="46291" y="162687"/>
                  </a:moveTo>
                  <a:lnTo>
                    <a:pt x="23813" y="187357"/>
                  </a:lnTo>
                  <a:lnTo>
                    <a:pt x="23813" y="187357"/>
                  </a:lnTo>
                  <a:lnTo>
                    <a:pt x="1715" y="162687"/>
                  </a:lnTo>
                </a:path>
              </a:pathLst>
            </a:custGeom>
            <a:noFill/>
            <a:ln w="12700" cap="flat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fr-fr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78C4B045-CACA-4EFA-BB12-71C6C4D656A7}"/>
                </a:ext>
              </a:extLst>
            </p:cNvPr>
            <p:cNvSpPr/>
            <p:nvPr/>
          </p:nvSpPr>
          <p:spPr>
            <a:xfrm>
              <a:off x="6115364" y="3363998"/>
              <a:ext cx="178212" cy="227170"/>
            </a:xfrm>
            <a:custGeom>
              <a:avLst/>
              <a:gdLst>
                <a:gd name="connsiteX0" fmla="*/ 178213 w 178212"/>
                <a:gd name="connsiteY0" fmla="*/ 50292 h 227171"/>
                <a:gd name="connsiteX1" fmla="*/ 128111 w 178212"/>
                <a:gd name="connsiteY1" fmla="*/ 21241 h 227171"/>
                <a:gd name="connsiteX2" fmla="*/ 128111 w 178212"/>
                <a:gd name="connsiteY2" fmla="*/ 0 h 227171"/>
                <a:gd name="connsiteX3" fmla="*/ 88487 w 178212"/>
                <a:gd name="connsiteY3" fmla="*/ 0 h 227171"/>
                <a:gd name="connsiteX4" fmla="*/ 88487 w 178212"/>
                <a:gd name="connsiteY4" fmla="*/ 21241 h 227171"/>
                <a:gd name="connsiteX5" fmla="*/ 38291 w 178212"/>
                <a:gd name="connsiteY5" fmla="*/ 50292 h 227171"/>
                <a:gd name="connsiteX6" fmla="*/ 19812 w 178212"/>
                <a:gd name="connsiteY6" fmla="*/ 39624 h 227171"/>
                <a:gd name="connsiteX7" fmla="*/ 0 w 178212"/>
                <a:gd name="connsiteY7" fmla="*/ 74009 h 227171"/>
                <a:gd name="connsiteX8" fmla="*/ 18383 w 178212"/>
                <a:gd name="connsiteY8" fmla="*/ 84677 h 227171"/>
                <a:gd name="connsiteX9" fmla="*/ 13811 w 178212"/>
                <a:gd name="connsiteY9" fmla="*/ 113633 h 227171"/>
                <a:gd name="connsiteX10" fmla="*/ 18383 w 178212"/>
                <a:gd name="connsiteY10" fmla="*/ 142589 h 227171"/>
                <a:gd name="connsiteX11" fmla="*/ 0 w 178212"/>
                <a:gd name="connsiteY11" fmla="*/ 153257 h 227171"/>
                <a:gd name="connsiteX12" fmla="*/ 19812 w 178212"/>
                <a:gd name="connsiteY12" fmla="*/ 187547 h 227171"/>
                <a:gd name="connsiteX13" fmla="*/ 38291 w 178212"/>
                <a:gd name="connsiteY13" fmla="*/ 176879 h 227171"/>
                <a:gd name="connsiteX14" fmla="*/ 88392 w 178212"/>
                <a:gd name="connsiteY14" fmla="*/ 205930 h 227171"/>
                <a:gd name="connsiteX15" fmla="*/ 88392 w 178212"/>
                <a:gd name="connsiteY15" fmla="*/ 227171 h 227171"/>
                <a:gd name="connsiteX16" fmla="*/ 128016 w 178212"/>
                <a:gd name="connsiteY16" fmla="*/ 227171 h 227171"/>
                <a:gd name="connsiteX17" fmla="*/ 128016 w 178212"/>
                <a:gd name="connsiteY17" fmla="*/ 205930 h 227171"/>
                <a:gd name="connsiteX18" fmla="*/ 178118 w 178212"/>
                <a:gd name="connsiteY18" fmla="*/ 176879 h 2271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78212" h="227171">
                  <a:moveTo>
                    <a:pt x="178213" y="50292"/>
                  </a:moveTo>
                  <a:cubicBezTo>
                    <a:pt x="165164" y="35909"/>
                    <a:pt x="147828" y="25432"/>
                    <a:pt x="128111" y="21241"/>
                  </a:cubicBezTo>
                  <a:lnTo>
                    <a:pt x="128111" y="0"/>
                  </a:lnTo>
                  <a:lnTo>
                    <a:pt x="88487" y="0"/>
                  </a:lnTo>
                  <a:lnTo>
                    <a:pt x="88487" y="21241"/>
                  </a:lnTo>
                  <a:cubicBezTo>
                    <a:pt x="68771" y="25527"/>
                    <a:pt x="51340" y="35909"/>
                    <a:pt x="38291" y="50292"/>
                  </a:cubicBezTo>
                  <a:lnTo>
                    <a:pt x="19812" y="39624"/>
                  </a:lnTo>
                  <a:lnTo>
                    <a:pt x="0" y="74009"/>
                  </a:lnTo>
                  <a:lnTo>
                    <a:pt x="18383" y="84677"/>
                  </a:lnTo>
                  <a:cubicBezTo>
                    <a:pt x="15430" y="93821"/>
                    <a:pt x="13811" y="103537"/>
                    <a:pt x="13811" y="113633"/>
                  </a:cubicBezTo>
                  <a:cubicBezTo>
                    <a:pt x="13811" y="123730"/>
                    <a:pt x="15430" y="133445"/>
                    <a:pt x="18383" y="142589"/>
                  </a:cubicBezTo>
                  <a:lnTo>
                    <a:pt x="0" y="153257"/>
                  </a:lnTo>
                  <a:lnTo>
                    <a:pt x="19812" y="187547"/>
                  </a:lnTo>
                  <a:lnTo>
                    <a:pt x="38291" y="176879"/>
                  </a:lnTo>
                  <a:cubicBezTo>
                    <a:pt x="51340" y="191262"/>
                    <a:pt x="68675" y="201740"/>
                    <a:pt x="88392" y="205930"/>
                  </a:cubicBezTo>
                  <a:lnTo>
                    <a:pt x="88392" y="227171"/>
                  </a:lnTo>
                  <a:lnTo>
                    <a:pt x="128016" y="227171"/>
                  </a:lnTo>
                  <a:lnTo>
                    <a:pt x="128016" y="205930"/>
                  </a:lnTo>
                  <a:cubicBezTo>
                    <a:pt x="147733" y="201740"/>
                    <a:pt x="165068" y="191262"/>
                    <a:pt x="178118" y="176879"/>
                  </a:cubicBezTo>
                </a:path>
              </a:pathLst>
            </a:custGeom>
            <a:noFill/>
            <a:ln w="12700" cap="flat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fr-fr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D6B80E82-ADE6-47B8-9F5D-E52159842206}"/>
                </a:ext>
              </a:extLst>
            </p:cNvPr>
            <p:cNvSpPr/>
            <p:nvPr/>
          </p:nvSpPr>
          <p:spPr>
            <a:xfrm>
              <a:off x="6151263" y="3405148"/>
              <a:ext cx="121253" cy="144780"/>
            </a:xfrm>
            <a:custGeom>
              <a:avLst/>
              <a:gdLst>
                <a:gd name="connsiteX0" fmla="*/ 71533 w 121253"/>
                <a:gd name="connsiteY0" fmla="*/ 71819 h 144780"/>
                <a:gd name="connsiteX1" fmla="*/ 101441 w 121253"/>
                <a:gd name="connsiteY1" fmla="*/ 39338 h 144780"/>
                <a:gd name="connsiteX2" fmla="*/ 120586 w 121253"/>
                <a:gd name="connsiteY2" fmla="*/ 18479 h 144780"/>
                <a:gd name="connsiteX3" fmla="*/ 72390 w 121253"/>
                <a:gd name="connsiteY3" fmla="*/ 0 h 144780"/>
                <a:gd name="connsiteX4" fmla="*/ 0 w 121253"/>
                <a:gd name="connsiteY4" fmla="*/ 72390 h 144780"/>
                <a:gd name="connsiteX5" fmla="*/ 72390 w 121253"/>
                <a:gd name="connsiteY5" fmla="*/ 144780 h 144780"/>
                <a:gd name="connsiteX6" fmla="*/ 121253 w 121253"/>
                <a:gd name="connsiteY6" fmla="*/ 125730 h 144780"/>
                <a:gd name="connsiteX7" fmla="*/ 101441 w 121253"/>
                <a:gd name="connsiteY7" fmla="*/ 104204 h 144780"/>
                <a:gd name="connsiteX8" fmla="*/ 71533 w 121253"/>
                <a:gd name="connsiteY8" fmla="*/ 71819 h 1447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1253" h="144780">
                  <a:moveTo>
                    <a:pt x="71533" y="71819"/>
                  </a:moveTo>
                  <a:lnTo>
                    <a:pt x="101441" y="39338"/>
                  </a:lnTo>
                  <a:lnTo>
                    <a:pt x="120586" y="18479"/>
                  </a:lnTo>
                  <a:cubicBezTo>
                    <a:pt x="107728" y="7049"/>
                    <a:pt x="90869" y="0"/>
                    <a:pt x="72390" y="0"/>
                  </a:cubicBezTo>
                  <a:cubicBezTo>
                    <a:pt x="32385" y="0"/>
                    <a:pt x="0" y="32385"/>
                    <a:pt x="0" y="72390"/>
                  </a:cubicBezTo>
                  <a:cubicBezTo>
                    <a:pt x="0" y="112395"/>
                    <a:pt x="32385" y="144780"/>
                    <a:pt x="72390" y="144780"/>
                  </a:cubicBezTo>
                  <a:cubicBezTo>
                    <a:pt x="91250" y="144780"/>
                    <a:pt x="108395" y="137541"/>
                    <a:pt x="121253" y="125730"/>
                  </a:cubicBezTo>
                  <a:lnTo>
                    <a:pt x="101441" y="104204"/>
                  </a:lnTo>
                  <a:lnTo>
                    <a:pt x="71533" y="71819"/>
                  </a:lnTo>
                  <a:close/>
                </a:path>
              </a:pathLst>
            </a:custGeom>
            <a:noFill/>
            <a:ln w="12700" cap="flat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fr-fr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871AFBD3-8E24-4BE6-8581-609BF4930F67}"/>
                </a:ext>
              </a:extLst>
            </p:cNvPr>
            <p:cNvSpPr/>
            <p:nvPr/>
          </p:nvSpPr>
          <p:spPr>
            <a:xfrm>
              <a:off x="6222808" y="3423728"/>
              <a:ext cx="49720" cy="107251"/>
            </a:xfrm>
            <a:custGeom>
              <a:avLst/>
              <a:gdLst>
                <a:gd name="connsiteX0" fmla="*/ 49054 w 49720"/>
                <a:gd name="connsiteY0" fmla="*/ 0 h 107251"/>
                <a:gd name="connsiteX1" fmla="*/ 29909 w 49720"/>
                <a:gd name="connsiteY1" fmla="*/ 20764 h 107251"/>
                <a:gd name="connsiteX2" fmla="*/ 0 w 49720"/>
                <a:gd name="connsiteY2" fmla="*/ 53245 h 107251"/>
                <a:gd name="connsiteX3" fmla="*/ 29909 w 49720"/>
                <a:gd name="connsiteY3" fmla="*/ 85725 h 107251"/>
                <a:gd name="connsiteX4" fmla="*/ 49721 w 49720"/>
                <a:gd name="connsiteY4" fmla="*/ 107252 h 1072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720" h="107251">
                  <a:moveTo>
                    <a:pt x="49054" y="0"/>
                  </a:moveTo>
                  <a:lnTo>
                    <a:pt x="29909" y="20764"/>
                  </a:lnTo>
                  <a:lnTo>
                    <a:pt x="0" y="53245"/>
                  </a:lnTo>
                  <a:lnTo>
                    <a:pt x="29909" y="85725"/>
                  </a:lnTo>
                  <a:lnTo>
                    <a:pt x="49721" y="107252"/>
                  </a:lnTo>
                </a:path>
              </a:pathLst>
            </a:custGeom>
            <a:noFill/>
            <a:ln w="12700" cap="flat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fr-fr"/>
            </a:p>
          </p:txBody>
        </p:sp>
      </p:grpSp>
      <p:sp>
        <p:nvSpPr>
          <p:cNvPr id="43" name="Graphic 386">
            <a:extLst>
              <a:ext uri="{FF2B5EF4-FFF2-40B4-BE49-F238E27FC236}">
                <a16:creationId xmlns:a16="http://schemas.microsoft.com/office/drawing/2014/main" id="{07E55D9E-DD89-4F40-A731-87087B07A694}"/>
              </a:ext>
            </a:extLst>
          </p:cNvPr>
          <p:cNvSpPr/>
          <p:nvPr/>
        </p:nvSpPr>
        <p:spPr>
          <a:xfrm>
            <a:off x="3673616" y="5289215"/>
            <a:ext cx="470028" cy="502392"/>
          </a:xfrm>
          <a:custGeom>
            <a:avLst/>
            <a:gdLst>
              <a:gd name="connsiteX0" fmla="*/ 466154 w 466153"/>
              <a:gd name="connsiteY0" fmla="*/ 183928 h 498252"/>
              <a:gd name="connsiteX1" fmla="*/ 233077 w 466153"/>
              <a:gd name="connsiteY1" fmla="*/ 498253 h 498252"/>
              <a:gd name="connsiteX2" fmla="*/ 0 w 466153"/>
              <a:gd name="connsiteY2" fmla="*/ 183928 h 498252"/>
              <a:gd name="connsiteX3" fmla="*/ 0 w 466153"/>
              <a:gd name="connsiteY3" fmla="*/ 66866 h 498252"/>
              <a:gd name="connsiteX4" fmla="*/ 149828 w 466153"/>
              <a:gd name="connsiteY4" fmla="*/ 25051 h 498252"/>
              <a:gd name="connsiteX5" fmla="*/ 233077 w 466153"/>
              <a:gd name="connsiteY5" fmla="*/ 0 h 498252"/>
              <a:gd name="connsiteX6" fmla="*/ 316325 w 466153"/>
              <a:gd name="connsiteY6" fmla="*/ 25051 h 498252"/>
              <a:gd name="connsiteX7" fmla="*/ 466154 w 466153"/>
              <a:gd name="connsiteY7" fmla="*/ 66866 h 498252"/>
              <a:gd name="connsiteX8" fmla="*/ 466154 w 466153"/>
              <a:gd name="connsiteY8" fmla="*/ 183928 h 498252"/>
              <a:gd name="connsiteX9" fmla="*/ 466154 w 466153"/>
              <a:gd name="connsiteY9" fmla="*/ 183928 h 498252"/>
              <a:gd name="connsiteX10" fmla="*/ 466154 w 466153"/>
              <a:gd name="connsiteY10" fmla="*/ 183928 h 498252"/>
              <a:gd name="connsiteX11" fmla="*/ 106585 w 466153"/>
              <a:gd name="connsiteY11" fmla="*/ 211265 h 498252"/>
              <a:gd name="connsiteX12" fmla="*/ 187547 w 466153"/>
              <a:gd name="connsiteY12" fmla="*/ 292227 h 498252"/>
              <a:gd name="connsiteX13" fmla="*/ 395954 w 466153"/>
              <a:gd name="connsiteY13" fmla="*/ 146971 h 4982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466153" h="498252">
                <a:moveTo>
                  <a:pt x="466154" y="183928"/>
                </a:moveTo>
                <a:cubicBezTo>
                  <a:pt x="466154" y="307943"/>
                  <a:pt x="377095" y="416909"/>
                  <a:pt x="233077" y="498253"/>
                </a:cubicBezTo>
                <a:cubicBezTo>
                  <a:pt x="89154" y="416909"/>
                  <a:pt x="0" y="307943"/>
                  <a:pt x="0" y="183928"/>
                </a:cubicBezTo>
                <a:cubicBezTo>
                  <a:pt x="0" y="66866"/>
                  <a:pt x="0" y="66866"/>
                  <a:pt x="0" y="66866"/>
                </a:cubicBezTo>
                <a:cubicBezTo>
                  <a:pt x="58579" y="66866"/>
                  <a:pt x="111443" y="50864"/>
                  <a:pt x="149828" y="25051"/>
                </a:cubicBezTo>
                <a:cubicBezTo>
                  <a:pt x="171164" y="9525"/>
                  <a:pt x="200597" y="0"/>
                  <a:pt x="233077" y="0"/>
                </a:cubicBezTo>
                <a:cubicBezTo>
                  <a:pt x="265557" y="0"/>
                  <a:pt x="294989" y="9525"/>
                  <a:pt x="316325" y="25051"/>
                </a:cubicBezTo>
                <a:cubicBezTo>
                  <a:pt x="354711" y="50864"/>
                  <a:pt x="407575" y="66866"/>
                  <a:pt x="466154" y="66866"/>
                </a:cubicBezTo>
                <a:lnTo>
                  <a:pt x="466154" y="183928"/>
                </a:lnTo>
                <a:lnTo>
                  <a:pt x="466154" y="183928"/>
                </a:lnTo>
                <a:lnTo>
                  <a:pt x="466154" y="183928"/>
                </a:lnTo>
                <a:close/>
                <a:moveTo>
                  <a:pt x="106585" y="211265"/>
                </a:moveTo>
                <a:lnTo>
                  <a:pt x="187547" y="292227"/>
                </a:lnTo>
                <a:lnTo>
                  <a:pt x="395954" y="146971"/>
                </a:lnTo>
              </a:path>
            </a:pathLst>
          </a:custGeom>
          <a:noFill/>
          <a:ln w="12700" cap="flat">
            <a:solidFill>
              <a:schemeClr val="accent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fr-fr"/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B9E71867-D49B-45E7-A597-E24C0297DAA7}"/>
              </a:ext>
            </a:extLst>
          </p:cNvPr>
          <p:cNvGrpSpPr/>
          <p:nvPr/>
        </p:nvGrpSpPr>
        <p:grpSpPr>
          <a:xfrm>
            <a:off x="6243677" y="3189464"/>
            <a:ext cx="503654" cy="572374"/>
            <a:chOff x="4335494" y="1727586"/>
            <a:chExt cx="419738" cy="477008"/>
          </a:xfrm>
        </p:grpSpPr>
        <p:grpSp>
          <p:nvGrpSpPr>
            <p:cNvPr id="45" name="Graphic 454">
              <a:extLst>
                <a:ext uri="{FF2B5EF4-FFF2-40B4-BE49-F238E27FC236}">
                  <a16:creationId xmlns:a16="http://schemas.microsoft.com/office/drawing/2014/main" id="{64FBD002-5BE7-410C-A897-249C69D2EB9C}"/>
                </a:ext>
              </a:extLst>
            </p:cNvPr>
            <p:cNvGrpSpPr/>
            <p:nvPr/>
          </p:nvGrpSpPr>
          <p:grpSpPr>
            <a:xfrm>
              <a:off x="4467560" y="1828799"/>
              <a:ext cx="150062" cy="245101"/>
              <a:chOff x="6075362" y="3263899"/>
              <a:chExt cx="285750" cy="466725"/>
            </a:xfrm>
          </p:grpSpPr>
          <p:sp>
            <p:nvSpPr>
              <p:cNvPr id="73" name="Freeform: Shape 72">
                <a:extLst>
                  <a:ext uri="{FF2B5EF4-FFF2-40B4-BE49-F238E27FC236}">
                    <a16:creationId xmlns:a16="http://schemas.microsoft.com/office/drawing/2014/main" id="{FB5E850B-6013-48CE-82AB-2AC801740216}"/>
                  </a:ext>
                </a:extLst>
              </p:cNvPr>
              <p:cNvSpPr/>
              <p:nvPr/>
            </p:nvSpPr>
            <p:spPr>
              <a:xfrm>
                <a:off x="6083934" y="3484783"/>
                <a:ext cx="270319" cy="239744"/>
              </a:xfrm>
              <a:custGeom>
                <a:avLst/>
                <a:gdLst>
                  <a:gd name="connsiteX0" fmla="*/ 0 w 270319"/>
                  <a:gd name="connsiteY0" fmla="*/ 0 h 239744"/>
                  <a:gd name="connsiteX1" fmla="*/ 270320 w 270319"/>
                  <a:gd name="connsiteY1" fmla="*/ 0 h 239744"/>
                  <a:gd name="connsiteX2" fmla="*/ 270320 w 270319"/>
                  <a:gd name="connsiteY2" fmla="*/ 239744 h 239744"/>
                  <a:gd name="connsiteX3" fmla="*/ 0 w 270319"/>
                  <a:gd name="connsiteY3" fmla="*/ 239744 h 2397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70319" h="239744">
                    <a:moveTo>
                      <a:pt x="0" y="0"/>
                    </a:moveTo>
                    <a:lnTo>
                      <a:pt x="270320" y="0"/>
                    </a:lnTo>
                    <a:lnTo>
                      <a:pt x="270320" y="239744"/>
                    </a:lnTo>
                    <a:lnTo>
                      <a:pt x="0" y="239744"/>
                    </a:lnTo>
                    <a:close/>
                  </a:path>
                </a:pathLst>
              </a:custGeom>
              <a:noFill/>
              <a:ln w="12700" cap="flat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fr-fr"/>
              </a:p>
            </p:txBody>
          </p:sp>
          <p:sp>
            <p:nvSpPr>
              <p:cNvPr id="78" name="Freeform: Shape 77">
                <a:extLst>
                  <a:ext uri="{FF2B5EF4-FFF2-40B4-BE49-F238E27FC236}">
                    <a16:creationId xmlns:a16="http://schemas.microsoft.com/office/drawing/2014/main" id="{2B63DE3A-0C4E-4BAF-861D-E1E212F3B2D3}"/>
                  </a:ext>
                </a:extLst>
              </p:cNvPr>
              <p:cNvSpPr/>
              <p:nvPr/>
            </p:nvSpPr>
            <p:spPr>
              <a:xfrm>
                <a:off x="6103651" y="3272471"/>
                <a:ext cx="230885" cy="212312"/>
              </a:xfrm>
              <a:custGeom>
                <a:avLst/>
                <a:gdLst>
                  <a:gd name="connsiteX0" fmla="*/ 0 w 230885"/>
                  <a:gd name="connsiteY0" fmla="*/ 212312 h 212312"/>
                  <a:gd name="connsiteX1" fmla="*/ 0 w 230885"/>
                  <a:gd name="connsiteY1" fmla="*/ 115443 h 212312"/>
                  <a:gd name="connsiteX2" fmla="*/ 115443 w 230885"/>
                  <a:gd name="connsiteY2" fmla="*/ 0 h 212312"/>
                  <a:gd name="connsiteX3" fmla="*/ 115443 w 230885"/>
                  <a:gd name="connsiteY3" fmla="*/ 0 h 212312"/>
                  <a:gd name="connsiteX4" fmla="*/ 230886 w 230885"/>
                  <a:gd name="connsiteY4" fmla="*/ 115443 h 212312"/>
                  <a:gd name="connsiteX5" fmla="*/ 230886 w 230885"/>
                  <a:gd name="connsiteY5" fmla="*/ 204788 h 2123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30885" h="212312">
                    <a:moveTo>
                      <a:pt x="0" y="212312"/>
                    </a:moveTo>
                    <a:lnTo>
                      <a:pt x="0" y="115443"/>
                    </a:lnTo>
                    <a:cubicBezTo>
                      <a:pt x="0" y="51721"/>
                      <a:pt x="51721" y="0"/>
                      <a:pt x="115443" y="0"/>
                    </a:cubicBezTo>
                    <a:lnTo>
                      <a:pt x="115443" y="0"/>
                    </a:lnTo>
                    <a:cubicBezTo>
                      <a:pt x="179165" y="0"/>
                      <a:pt x="230886" y="51721"/>
                      <a:pt x="230886" y="115443"/>
                    </a:cubicBezTo>
                    <a:lnTo>
                      <a:pt x="230886" y="204788"/>
                    </a:lnTo>
                  </a:path>
                </a:pathLst>
              </a:custGeom>
              <a:noFill/>
              <a:ln w="12700" cap="flat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fr-fr"/>
              </a:p>
            </p:txBody>
          </p:sp>
          <p:sp>
            <p:nvSpPr>
              <p:cNvPr id="80" name="Freeform: Shape 79">
                <a:extLst>
                  <a:ext uri="{FF2B5EF4-FFF2-40B4-BE49-F238E27FC236}">
                    <a16:creationId xmlns:a16="http://schemas.microsoft.com/office/drawing/2014/main" id="{D24A8060-7727-4A9A-B58C-F1DACC68F626}"/>
                  </a:ext>
                </a:extLst>
              </p:cNvPr>
              <p:cNvSpPr/>
              <p:nvPr/>
            </p:nvSpPr>
            <p:spPr>
              <a:xfrm>
                <a:off x="6188233" y="3540028"/>
                <a:ext cx="61721" cy="61722"/>
              </a:xfrm>
              <a:custGeom>
                <a:avLst/>
                <a:gdLst>
                  <a:gd name="connsiteX0" fmla="*/ 61722 w 61721"/>
                  <a:gd name="connsiteY0" fmla="*/ 30861 h 61722"/>
                  <a:gd name="connsiteX1" fmla="*/ 30861 w 61721"/>
                  <a:gd name="connsiteY1" fmla="*/ 61722 h 61722"/>
                  <a:gd name="connsiteX2" fmla="*/ 0 w 61721"/>
                  <a:gd name="connsiteY2" fmla="*/ 30861 h 61722"/>
                  <a:gd name="connsiteX3" fmla="*/ 30861 w 61721"/>
                  <a:gd name="connsiteY3" fmla="*/ 0 h 61722"/>
                  <a:gd name="connsiteX4" fmla="*/ 61722 w 61721"/>
                  <a:gd name="connsiteY4" fmla="*/ 30861 h 617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1721" h="61722">
                    <a:moveTo>
                      <a:pt x="61722" y="30861"/>
                    </a:moveTo>
                    <a:cubicBezTo>
                      <a:pt x="61722" y="47905"/>
                      <a:pt x="47905" y="61722"/>
                      <a:pt x="30861" y="61722"/>
                    </a:cubicBezTo>
                    <a:cubicBezTo>
                      <a:pt x="13817" y="61722"/>
                      <a:pt x="0" y="47905"/>
                      <a:pt x="0" y="30861"/>
                    </a:cubicBezTo>
                    <a:cubicBezTo>
                      <a:pt x="0" y="13817"/>
                      <a:pt x="13817" y="0"/>
                      <a:pt x="30861" y="0"/>
                    </a:cubicBezTo>
                    <a:cubicBezTo>
                      <a:pt x="47905" y="0"/>
                      <a:pt x="61722" y="13817"/>
                      <a:pt x="61722" y="30861"/>
                    </a:cubicBezTo>
                    <a:close/>
                  </a:path>
                </a:pathLst>
              </a:custGeom>
              <a:noFill/>
              <a:ln w="12700" cap="flat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fr-fr"/>
              </a:p>
            </p:txBody>
          </p:sp>
          <p:sp>
            <p:nvSpPr>
              <p:cNvPr id="82" name="Freeform: Shape 81">
                <a:extLst>
                  <a:ext uri="{FF2B5EF4-FFF2-40B4-BE49-F238E27FC236}">
                    <a16:creationId xmlns:a16="http://schemas.microsoft.com/office/drawing/2014/main" id="{27BCBAEB-D559-42CF-AD9B-D832929833EC}"/>
                  </a:ext>
                </a:extLst>
              </p:cNvPr>
              <p:cNvSpPr/>
              <p:nvPr/>
            </p:nvSpPr>
            <p:spPr>
              <a:xfrm>
                <a:off x="6219094" y="3582510"/>
                <a:ext cx="9525" cy="70389"/>
              </a:xfrm>
              <a:custGeom>
                <a:avLst/>
                <a:gdLst>
                  <a:gd name="connsiteX0" fmla="*/ 0 w 9525"/>
                  <a:gd name="connsiteY0" fmla="*/ 70390 h 70389"/>
                  <a:gd name="connsiteX1" fmla="*/ 0 w 9525"/>
                  <a:gd name="connsiteY1" fmla="*/ 0 h 703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70389">
                    <a:moveTo>
                      <a:pt x="0" y="70390"/>
                    </a:moveTo>
                    <a:lnTo>
                      <a:pt x="0" y="0"/>
                    </a:lnTo>
                  </a:path>
                </a:pathLst>
              </a:custGeom>
              <a:noFill/>
              <a:ln w="12700" cap="flat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fr-fr"/>
              </a:p>
            </p:txBody>
          </p:sp>
        </p:grp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10A43EF9-DC6D-4AAE-941D-D674A68FFE87}"/>
                </a:ext>
              </a:extLst>
            </p:cNvPr>
            <p:cNvSpPr/>
            <p:nvPr/>
          </p:nvSpPr>
          <p:spPr>
            <a:xfrm>
              <a:off x="4564100" y="1757438"/>
              <a:ext cx="152639" cy="88064"/>
            </a:xfrm>
            <a:custGeom>
              <a:avLst/>
              <a:gdLst>
                <a:gd name="connsiteX0" fmla="*/ 185071 w 185070"/>
                <a:gd name="connsiteY0" fmla="*/ 106775 h 106775"/>
                <a:gd name="connsiteX1" fmla="*/ 0 w 185070"/>
                <a:gd name="connsiteY1" fmla="*/ 0 h 106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5070" h="106775">
                  <a:moveTo>
                    <a:pt x="185071" y="106775"/>
                  </a:moveTo>
                  <a:lnTo>
                    <a:pt x="0" y="0"/>
                  </a:lnTo>
                </a:path>
              </a:pathLst>
            </a:custGeom>
            <a:noFill/>
            <a:ln w="12700" cap="flat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fr-fr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CDC2D8B3-AAF7-4471-947E-C9FED5D657E6}"/>
                </a:ext>
              </a:extLst>
            </p:cNvPr>
            <p:cNvSpPr/>
            <p:nvPr/>
          </p:nvSpPr>
          <p:spPr>
            <a:xfrm>
              <a:off x="4735043" y="1876219"/>
              <a:ext cx="7856" cy="178092"/>
            </a:xfrm>
            <a:custGeom>
              <a:avLst/>
              <a:gdLst>
                <a:gd name="connsiteX0" fmla="*/ 0 w 9525"/>
                <a:gd name="connsiteY0" fmla="*/ 215932 h 215931"/>
                <a:gd name="connsiteX1" fmla="*/ 0 w 9525"/>
                <a:gd name="connsiteY1" fmla="*/ 0 h 215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215931">
                  <a:moveTo>
                    <a:pt x="0" y="215932"/>
                  </a:moveTo>
                  <a:lnTo>
                    <a:pt x="0" y="0"/>
                  </a:lnTo>
                </a:path>
              </a:pathLst>
            </a:custGeom>
            <a:noFill/>
            <a:ln w="12700" cap="flat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fr-fr"/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9E3DE4E9-DCBD-4890-B89B-C35BB6399A92}"/>
                </a:ext>
              </a:extLst>
            </p:cNvPr>
            <p:cNvSpPr/>
            <p:nvPr/>
          </p:nvSpPr>
          <p:spPr>
            <a:xfrm>
              <a:off x="4563549" y="2085264"/>
              <a:ext cx="153267" cy="88457"/>
            </a:xfrm>
            <a:custGeom>
              <a:avLst/>
              <a:gdLst>
                <a:gd name="connsiteX0" fmla="*/ 0 w 185832"/>
                <a:gd name="connsiteY0" fmla="*/ 107251 h 107251"/>
                <a:gd name="connsiteX1" fmla="*/ 185833 w 185832"/>
                <a:gd name="connsiteY1" fmla="*/ 0 h 1072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5832" h="107251">
                  <a:moveTo>
                    <a:pt x="0" y="107251"/>
                  </a:moveTo>
                  <a:lnTo>
                    <a:pt x="185833" y="0"/>
                  </a:lnTo>
                </a:path>
              </a:pathLst>
            </a:custGeom>
            <a:noFill/>
            <a:ln w="12700" cap="flat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fr-fr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CC0E92E2-8A31-4BC5-BC4C-0B4202E7C678}"/>
                </a:ext>
              </a:extLst>
            </p:cNvPr>
            <p:cNvSpPr/>
            <p:nvPr/>
          </p:nvSpPr>
          <p:spPr>
            <a:xfrm>
              <a:off x="4373988" y="2084950"/>
              <a:ext cx="153896" cy="88849"/>
            </a:xfrm>
            <a:custGeom>
              <a:avLst/>
              <a:gdLst>
                <a:gd name="connsiteX0" fmla="*/ 0 w 186594"/>
                <a:gd name="connsiteY0" fmla="*/ 0 h 107727"/>
                <a:gd name="connsiteX1" fmla="*/ 186595 w 186594"/>
                <a:gd name="connsiteY1" fmla="*/ 107728 h 1077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6594" h="107727">
                  <a:moveTo>
                    <a:pt x="0" y="0"/>
                  </a:moveTo>
                  <a:lnTo>
                    <a:pt x="186595" y="107728"/>
                  </a:lnTo>
                </a:path>
              </a:pathLst>
            </a:custGeom>
            <a:noFill/>
            <a:ln w="12700" cap="flat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fr-fr"/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4D7C7EA9-0246-4394-A5DD-757A714D35C2}"/>
                </a:ext>
              </a:extLst>
            </p:cNvPr>
            <p:cNvSpPr/>
            <p:nvPr/>
          </p:nvSpPr>
          <p:spPr>
            <a:xfrm>
              <a:off x="4356312" y="1876219"/>
              <a:ext cx="7856" cy="178092"/>
            </a:xfrm>
            <a:custGeom>
              <a:avLst/>
              <a:gdLst>
                <a:gd name="connsiteX0" fmla="*/ 0 w 9525"/>
                <a:gd name="connsiteY0" fmla="*/ 0 h 215931"/>
                <a:gd name="connsiteX1" fmla="*/ 0 w 9525"/>
                <a:gd name="connsiteY1" fmla="*/ 215932 h 215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215931">
                  <a:moveTo>
                    <a:pt x="0" y="0"/>
                  </a:moveTo>
                  <a:lnTo>
                    <a:pt x="0" y="215932"/>
                  </a:lnTo>
                </a:path>
              </a:pathLst>
            </a:custGeom>
            <a:noFill/>
            <a:ln w="12700" cap="flat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fr-fr"/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A1A8C8F2-4D1B-41C8-AECF-A2F2F93AC780}"/>
                </a:ext>
              </a:extLst>
            </p:cNvPr>
            <p:cNvSpPr/>
            <p:nvPr/>
          </p:nvSpPr>
          <p:spPr>
            <a:xfrm>
              <a:off x="4374145" y="1757360"/>
              <a:ext cx="153189" cy="88457"/>
            </a:xfrm>
            <a:custGeom>
              <a:avLst/>
              <a:gdLst>
                <a:gd name="connsiteX0" fmla="*/ 185738 w 185737"/>
                <a:gd name="connsiteY0" fmla="*/ 0 h 107251"/>
                <a:gd name="connsiteX1" fmla="*/ 0 w 185737"/>
                <a:gd name="connsiteY1" fmla="*/ 107252 h 1072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5737" h="107251">
                  <a:moveTo>
                    <a:pt x="185738" y="0"/>
                  </a:moveTo>
                  <a:lnTo>
                    <a:pt x="0" y="107252"/>
                  </a:lnTo>
                </a:path>
              </a:pathLst>
            </a:custGeom>
            <a:noFill/>
            <a:ln w="12700" cap="flat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fr-fr"/>
            </a:p>
          </p:txBody>
        </p:sp>
        <p:sp>
          <p:nvSpPr>
            <p:cNvPr id="60" name="Freeform: Shape 59">
              <a:extLst>
                <a:ext uri="{FF2B5EF4-FFF2-40B4-BE49-F238E27FC236}">
                  <a16:creationId xmlns:a16="http://schemas.microsoft.com/office/drawing/2014/main" id="{38B03BFE-8F36-4416-9511-1016EB6C8FB2}"/>
                </a:ext>
              </a:extLst>
            </p:cNvPr>
            <p:cNvSpPr/>
            <p:nvPr/>
          </p:nvSpPr>
          <p:spPr>
            <a:xfrm>
              <a:off x="4525055" y="1727586"/>
              <a:ext cx="41243" cy="41243"/>
            </a:xfrm>
            <a:custGeom>
              <a:avLst/>
              <a:gdLst>
                <a:gd name="connsiteX0" fmla="*/ 25051 w 50006"/>
                <a:gd name="connsiteY0" fmla="*/ 0 h 50006"/>
                <a:gd name="connsiteX1" fmla="*/ 0 w 50006"/>
                <a:gd name="connsiteY1" fmla="*/ 25051 h 50006"/>
                <a:gd name="connsiteX2" fmla="*/ 2667 w 50006"/>
                <a:gd name="connsiteY2" fmla="*/ 36100 h 50006"/>
                <a:gd name="connsiteX3" fmla="*/ 24956 w 50006"/>
                <a:gd name="connsiteY3" fmla="*/ 50006 h 50006"/>
                <a:gd name="connsiteX4" fmla="*/ 47244 w 50006"/>
                <a:gd name="connsiteY4" fmla="*/ 36100 h 50006"/>
                <a:gd name="connsiteX5" fmla="*/ 50006 w 50006"/>
                <a:gd name="connsiteY5" fmla="*/ 24956 h 50006"/>
                <a:gd name="connsiteX6" fmla="*/ 25051 w 50006"/>
                <a:gd name="connsiteY6" fmla="*/ 0 h 50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0006" h="50006">
                  <a:moveTo>
                    <a:pt x="25051" y="0"/>
                  </a:moveTo>
                  <a:cubicBezTo>
                    <a:pt x="11240" y="0"/>
                    <a:pt x="0" y="11240"/>
                    <a:pt x="0" y="25051"/>
                  </a:cubicBezTo>
                  <a:cubicBezTo>
                    <a:pt x="0" y="29051"/>
                    <a:pt x="1048" y="32766"/>
                    <a:pt x="2667" y="36100"/>
                  </a:cubicBezTo>
                  <a:cubicBezTo>
                    <a:pt x="6763" y="44291"/>
                    <a:pt x="15145" y="50006"/>
                    <a:pt x="24956" y="50006"/>
                  </a:cubicBezTo>
                  <a:cubicBezTo>
                    <a:pt x="34766" y="50006"/>
                    <a:pt x="43148" y="44291"/>
                    <a:pt x="47244" y="36100"/>
                  </a:cubicBezTo>
                  <a:cubicBezTo>
                    <a:pt x="48959" y="32766"/>
                    <a:pt x="50006" y="28956"/>
                    <a:pt x="50006" y="24956"/>
                  </a:cubicBezTo>
                  <a:cubicBezTo>
                    <a:pt x="50102" y="11240"/>
                    <a:pt x="38862" y="0"/>
                    <a:pt x="25051" y="0"/>
                  </a:cubicBezTo>
                  <a:close/>
                </a:path>
              </a:pathLst>
            </a:custGeom>
            <a:noFill/>
            <a:ln w="12700" cap="flat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fr-fr"/>
            </a:p>
          </p:txBody>
        </p:sp>
        <p:sp>
          <p:nvSpPr>
            <p:cNvPr id="61" name="Freeform: Shape 60">
              <a:extLst>
                <a:ext uri="{FF2B5EF4-FFF2-40B4-BE49-F238E27FC236}">
                  <a16:creationId xmlns:a16="http://schemas.microsoft.com/office/drawing/2014/main" id="{217C67F4-64C6-4078-98B0-53A54C825B4F}"/>
                </a:ext>
              </a:extLst>
            </p:cNvPr>
            <p:cNvSpPr/>
            <p:nvPr/>
          </p:nvSpPr>
          <p:spPr>
            <a:xfrm>
              <a:off x="4525135" y="2163273"/>
              <a:ext cx="41321" cy="41321"/>
            </a:xfrm>
            <a:custGeom>
              <a:avLst/>
              <a:gdLst>
                <a:gd name="connsiteX0" fmla="*/ 24956 w 50101"/>
                <a:gd name="connsiteY0" fmla="*/ 0 h 50101"/>
                <a:gd name="connsiteX1" fmla="*/ 3334 w 50101"/>
                <a:gd name="connsiteY1" fmla="*/ 12764 h 50101"/>
                <a:gd name="connsiteX2" fmla="*/ 0 w 50101"/>
                <a:gd name="connsiteY2" fmla="*/ 25051 h 50101"/>
                <a:gd name="connsiteX3" fmla="*/ 25051 w 50101"/>
                <a:gd name="connsiteY3" fmla="*/ 50101 h 50101"/>
                <a:gd name="connsiteX4" fmla="*/ 50102 w 50101"/>
                <a:gd name="connsiteY4" fmla="*/ 25051 h 50101"/>
                <a:gd name="connsiteX5" fmla="*/ 46768 w 50101"/>
                <a:gd name="connsiteY5" fmla="*/ 12668 h 50101"/>
                <a:gd name="connsiteX6" fmla="*/ 24956 w 50101"/>
                <a:gd name="connsiteY6" fmla="*/ 0 h 501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0101" h="50101">
                  <a:moveTo>
                    <a:pt x="24956" y="0"/>
                  </a:moveTo>
                  <a:cubicBezTo>
                    <a:pt x="15621" y="0"/>
                    <a:pt x="7620" y="5143"/>
                    <a:pt x="3334" y="12764"/>
                  </a:cubicBezTo>
                  <a:cubicBezTo>
                    <a:pt x="1238" y="16383"/>
                    <a:pt x="0" y="20574"/>
                    <a:pt x="0" y="25051"/>
                  </a:cubicBezTo>
                  <a:cubicBezTo>
                    <a:pt x="0" y="38862"/>
                    <a:pt x="11240" y="50101"/>
                    <a:pt x="25051" y="50101"/>
                  </a:cubicBezTo>
                  <a:cubicBezTo>
                    <a:pt x="38862" y="50101"/>
                    <a:pt x="50102" y="38862"/>
                    <a:pt x="50102" y="25051"/>
                  </a:cubicBezTo>
                  <a:cubicBezTo>
                    <a:pt x="50102" y="20574"/>
                    <a:pt x="48768" y="16383"/>
                    <a:pt x="46768" y="12668"/>
                  </a:cubicBezTo>
                  <a:cubicBezTo>
                    <a:pt x="42291" y="5143"/>
                    <a:pt x="34290" y="0"/>
                    <a:pt x="24956" y="0"/>
                  </a:cubicBezTo>
                  <a:close/>
                </a:path>
              </a:pathLst>
            </a:custGeom>
            <a:noFill/>
            <a:ln w="12700" cap="flat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fr-fr"/>
            </a:p>
          </p:txBody>
        </p:sp>
        <p:sp>
          <p:nvSpPr>
            <p:cNvPr id="62" name="Freeform: Shape 61">
              <a:extLst>
                <a:ext uri="{FF2B5EF4-FFF2-40B4-BE49-F238E27FC236}">
                  <a16:creationId xmlns:a16="http://schemas.microsoft.com/office/drawing/2014/main" id="{6B7CBD34-F953-4C19-BA33-36A9571FC4CF}"/>
                </a:ext>
              </a:extLst>
            </p:cNvPr>
            <p:cNvSpPr/>
            <p:nvPr/>
          </p:nvSpPr>
          <p:spPr>
            <a:xfrm>
              <a:off x="4335494" y="2054312"/>
              <a:ext cx="41321" cy="41321"/>
            </a:xfrm>
            <a:custGeom>
              <a:avLst/>
              <a:gdLst>
                <a:gd name="connsiteX0" fmla="*/ 25241 w 50101"/>
                <a:gd name="connsiteY0" fmla="*/ 0 h 50101"/>
                <a:gd name="connsiteX1" fmla="*/ 25051 w 50101"/>
                <a:gd name="connsiteY1" fmla="*/ 0 h 50101"/>
                <a:gd name="connsiteX2" fmla="*/ 0 w 50101"/>
                <a:gd name="connsiteY2" fmla="*/ 25051 h 50101"/>
                <a:gd name="connsiteX3" fmla="*/ 25051 w 50101"/>
                <a:gd name="connsiteY3" fmla="*/ 50102 h 50101"/>
                <a:gd name="connsiteX4" fmla="*/ 46768 w 50101"/>
                <a:gd name="connsiteY4" fmla="*/ 37338 h 50101"/>
                <a:gd name="connsiteX5" fmla="*/ 50102 w 50101"/>
                <a:gd name="connsiteY5" fmla="*/ 25051 h 50101"/>
                <a:gd name="connsiteX6" fmla="*/ 25241 w 50101"/>
                <a:gd name="connsiteY6" fmla="*/ 0 h 501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0101" h="50101">
                  <a:moveTo>
                    <a:pt x="25241" y="0"/>
                  </a:moveTo>
                  <a:cubicBezTo>
                    <a:pt x="25146" y="0"/>
                    <a:pt x="25146" y="0"/>
                    <a:pt x="25051" y="0"/>
                  </a:cubicBezTo>
                  <a:cubicBezTo>
                    <a:pt x="11240" y="0"/>
                    <a:pt x="0" y="11240"/>
                    <a:pt x="0" y="25051"/>
                  </a:cubicBezTo>
                  <a:cubicBezTo>
                    <a:pt x="0" y="38862"/>
                    <a:pt x="11240" y="50102"/>
                    <a:pt x="25051" y="50102"/>
                  </a:cubicBezTo>
                  <a:cubicBezTo>
                    <a:pt x="34385" y="50102"/>
                    <a:pt x="42386" y="44958"/>
                    <a:pt x="46768" y="37338"/>
                  </a:cubicBezTo>
                  <a:cubicBezTo>
                    <a:pt x="48863" y="33719"/>
                    <a:pt x="50102" y="29528"/>
                    <a:pt x="50102" y="25051"/>
                  </a:cubicBezTo>
                  <a:cubicBezTo>
                    <a:pt x="50006" y="11240"/>
                    <a:pt x="38957" y="95"/>
                    <a:pt x="25241" y="0"/>
                  </a:cubicBezTo>
                  <a:close/>
                </a:path>
              </a:pathLst>
            </a:custGeom>
            <a:noFill/>
            <a:ln w="12700" cap="flat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fr-fr"/>
            </a:p>
          </p:txBody>
        </p:sp>
        <p:sp>
          <p:nvSpPr>
            <p:cNvPr id="64" name="Freeform: Shape 63">
              <a:extLst>
                <a:ext uri="{FF2B5EF4-FFF2-40B4-BE49-F238E27FC236}">
                  <a16:creationId xmlns:a16="http://schemas.microsoft.com/office/drawing/2014/main" id="{E1F7C937-9696-4378-B565-2921BEA3B3F7}"/>
                </a:ext>
              </a:extLst>
            </p:cNvPr>
            <p:cNvSpPr/>
            <p:nvPr/>
          </p:nvSpPr>
          <p:spPr>
            <a:xfrm>
              <a:off x="4335494" y="1835054"/>
              <a:ext cx="41243" cy="41321"/>
            </a:xfrm>
            <a:custGeom>
              <a:avLst/>
              <a:gdLst>
                <a:gd name="connsiteX0" fmla="*/ 25051 w 50006"/>
                <a:gd name="connsiteY0" fmla="*/ 0 h 50101"/>
                <a:gd name="connsiteX1" fmla="*/ 0 w 50006"/>
                <a:gd name="connsiteY1" fmla="*/ 25051 h 50101"/>
                <a:gd name="connsiteX2" fmla="*/ 25051 w 50006"/>
                <a:gd name="connsiteY2" fmla="*/ 50102 h 50101"/>
                <a:gd name="connsiteX3" fmla="*/ 25241 w 50006"/>
                <a:gd name="connsiteY3" fmla="*/ 50102 h 50101"/>
                <a:gd name="connsiteX4" fmla="*/ 50006 w 50006"/>
                <a:gd name="connsiteY4" fmla="*/ 25146 h 50101"/>
                <a:gd name="connsiteX5" fmla="*/ 46863 w 50006"/>
                <a:gd name="connsiteY5" fmla="*/ 13240 h 50101"/>
                <a:gd name="connsiteX6" fmla="*/ 25051 w 50006"/>
                <a:gd name="connsiteY6" fmla="*/ 0 h 501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0006" h="50101">
                  <a:moveTo>
                    <a:pt x="25051" y="0"/>
                  </a:moveTo>
                  <a:cubicBezTo>
                    <a:pt x="11240" y="0"/>
                    <a:pt x="0" y="11240"/>
                    <a:pt x="0" y="25051"/>
                  </a:cubicBezTo>
                  <a:cubicBezTo>
                    <a:pt x="0" y="38862"/>
                    <a:pt x="11240" y="50102"/>
                    <a:pt x="25051" y="50102"/>
                  </a:cubicBezTo>
                  <a:cubicBezTo>
                    <a:pt x="25146" y="50102"/>
                    <a:pt x="25146" y="50102"/>
                    <a:pt x="25241" y="50102"/>
                  </a:cubicBezTo>
                  <a:cubicBezTo>
                    <a:pt x="38957" y="50006"/>
                    <a:pt x="50006" y="38862"/>
                    <a:pt x="50006" y="25146"/>
                  </a:cubicBezTo>
                  <a:cubicBezTo>
                    <a:pt x="50006" y="20765"/>
                    <a:pt x="48768" y="16764"/>
                    <a:pt x="46863" y="13240"/>
                  </a:cubicBezTo>
                  <a:cubicBezTo>
                    <a:pt x="42672" y="5239"/>
                    <a:pt x="34481" y="0"/>
                    <a:pt x="25051" y="0"/>
                  </a:cubicBezTo>
                  <a:close/>
                </a:path>
              </a:pathLst>
            </a:custGeom>
            <a:noFill/>
            <a:ln w="12700" cap="flat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fr-fr"/>
            </a:p>
          </p:txBody>
        </p:sp>
        <p:sp>
          <p:nvSpPr>
            <p:cNvPr id="68" name="Freeform: Shape 67">
              <a:extLst>
                <a:ext uri="{FF2B5EF4-FFF2-40B4-BE49-F238E27FC236}">
                  <a16:creationId xmlns:a16="http://schemas.microsoft.com/office/drawing/2014/main" id="{D43C5B45-6573-4D82-8AEE-6FFB939A4237}"/>
                </a:ext>
              </a:extLst>
            </p:cNvPr>
            <p:cNvSpPr/>
            <p:nvPr/>
          </p:nvSpPr>
          <p:spPr>
            <a:xfrm>
              <a:off x="4713911" y="2054233"/>
              <a:ext cx="41321" cy="41243"/>
            </a:xfrm>
            <a:custGeom>
              <a:avLst/>
              <a:gdLst>
                <a:gd name="connsiteX0" fmla="*/ 25622 w 50101"/>
                <a:gd name="connsiteY0" fmla="*/ 95 h 50006"/>
                <a:gd name="connsiteX1" fmla="*/ 25051 w 50101"/>
                <a:gd name="connsiteY1" fmla="*/ 0 h 50006"/>
                <a:gd name="connsiteX2" fmla="*/ 0 w 50101"/>
                <a:gd name="connsiteY2" fmla="*/ 25051 h 50006"/>
                <a:gd name="connsiteX3" fmla="*/ 3524 w 50101"/>
                <a:gd name="connsiteY3" fmla="*/ 37624 h 50006"/>
                <a:gd name="connsiteX4" fmla="*/ 25051 w 50101"/>
                <a:gd name="connsiteY4" fmla="*/ 50006 h 50006"/>
                <a:gd name="connsiteX5" fmla="*/ 50101 w 50101"/>
                <a:gd name="connsiteY5" fmla="*/ 24955 h 50006"/>
                <a:gd name="connsiteX6" fmla="*/ 25622 w 50101"/>
                <a:gd name="connsiteY6" fmla="*/ 95 h 50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0101" h="50006">
                  <a:moveTo>
                    <a:pt x="25622" y="95"/>
                  </a:moveTo>
                  <a:cubicBezTo>
                    <a:pt x="25432" y="95"/>
                    <a:pt x="25241" y="0"/>
                    <a:pt x="25051" y="0"/>
                  </a:cubicBezTo>
                  <a:cubicBezTo>
                    <a:pt x="11240" y="0"/>
                    <a:pt x="0" y="11240"/>
                    <a:pt x="0" y="25051"/>
                  </a:cubicBezTo>
                  <a:cubicBezTo>
                    <a:pt x="0" y="29623"/>
                    <a:pt x="1333" y="33909"/>
                    <a:pt x="3524" y="37624"/>
                  </a:cubicBezTo>
                  <a:cubicBezTo>
                    <a:pt x="7906" y="45053"/>
                    <a:pt x="15811" y="50006"/>
                    <a:pt x="25051" y="50006"/>
                  </a:cubicBezTo>
                  <a:cubicBezTo>
                    <a:pt x="38862" y="50006"/>
                    <a:pt x="50101" y="38767"/>
                    <a:pt x="50101" y="24955"/>
                  </a:cubicBezTo>
                  <a:cubicBezTo>
                    <a:pt x="50101" y="11430"/>
                    <a:pt x="39148" y="381"/>
                    <a:pt x="25622" y="95"/>
                  </a:cubicBezTo>
                  <a:close/>
                </a:path>
              </a:pathLst>
            </a:custGeom>
            <a:noFill/>
            <a:ln w="12700" cap="flat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fr-fr"/>
            </a:p>
          </p:txBody>
        </p: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54EB9889-E4B9-4A63-9EBD-B8ACFD8DB9AA}"/>
                </a:ext>
              </a:extLst>
            </p:cNvPr>
            <p:cNvSpPr/>
            <p:nvPr/>
          </p:nvSpPr>
          <p:spPr>
            <a:xfrm>
              <a:off x="4713989" y="1834976"/>
              <a:ext cx="41243" cy="41321"/>
            </a:xfrm>
            <a:custGeom>
              <a:avLst/>
              <a:gdLst>
                <a:gd name="connsiteX0" fmla="*/ 24956 w 50006"/>
                <a:gd name="connsiteY0" fmla="*/ 50102 h 50101"/>
                <a:gd name="connsiteX1" fmla="*/ 25527 w 50006"/>
                <a:gd name="connsiteY1" fmla="*/ 50006 h 50101"/>
                <a:gd name="connsiteX2" fmla="*/ 50006 w 50006"/>
                <a:gd name="connsiteY2" fmla="*/ 25051 h 50101"/>
                <a:gd name="connsiteX3" fmla="*/ 24956 w 50006"/>
                <a:gd name="connsiteY3" fmla="*/ 0 h 50101"/>
                <a:gd name="connsiteX4" fmla="*/ 3334 w 50006"/>
                <a:gd name="connsiteY4" fmla="*/ 12764 h 50101"/>
                <a:gd name="connsiteX5" fmla="*/ 0 w 50006"/>
                <a:gd name="connsiteY5" fmla="*/ 25051 h 50101"/>
                <a:gd name="connsiteX6" fmla="*/ 24956 w 50006"/>
                <a:gd name="connsiteY6" fmla="*/ 50102 h 501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0006" h="50101">
                  <a:moveTo>
                    <a:pt x="24956" y="50102"/>
                  </a:moveTo>
                  <a:cubicBezTo>
                    <a:pt x="25146" y="50102"/>
                    <a:pt x="25336" y="50006"/>
                    <a:pt x="25527" y="50006"/>
                  </a:cubicBezTo>
                  <a:cubicBezTo>
                    <a:pt x="39053" y="49720"/>
                    <a:pt x="50006" y="38671"/>
                    <a:pt x="50006" y="25051"/>
                  </a:cubicBezTo>
                  <a:cubicBezTo>
                    <a:pt x="50006" y="11239"/>
                    <a:pt x="38767" y="0"/>
                    <a:pt x="24956" y="0"/>
                  </a:cubicBezTo>
                  <a:cubicBezTo>
                    <a:pt x="15621" y="0"/>
                    <a:pt x="7620" y="5143"/>
                    <a:pt x="3334" y="12764"/>
                  </a:cubicBezTo>
                  <a:cubicBezTo>
                    <a:pt x="1238" y="16383"/>
                    <a:pt x="0" y="20574"/>
                    <a:pt x="0" y="25051"/>
                  </a:cubicBezTo>
                  <a:cubicBezTo>
                    <a:pt x="0" y="38862"/>
                    <a:pt x="11144" y="50102"/>
                    <a:pt x="24956" y="50102"/>
                  </a:cubicBezTo>
                  <a:close/>
                </a:path>
              </a:pathLst>
            </a:custGeom>
            <a:noFill/>
            <a:ln w="12700" cap="flat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fr-fr"/>
            </a:p>
          </p:txBody>
        </p:sp>
      </p:grpSp>
    </p:spTree>
    <p:extLst>
      <p:ext uri="{BB962C8B-B14F-4D97-AF65-F5344CB8AC3E}">
        <p14:creationId xmlns:p14="http://schemas.microsoft.com/office/powerpoint/2010/main" val="3890508678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qEg3bD4scSFV0CNmddt8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9tAPnIme0Ck5tXLduzg1w"/>
</p:tagLst>
</file>

<file path=ppt/theme/theme1.xml><?xml version="1.0" encoding="utf-8"?>
<a:theme xmlns:a="http://schemas.openxmlformats.org/drawingml/2006/main" name="8_FY15 Enterprise identity theme">
  <a:themeElements>
    <a:clrScheme name="FY16 EMPOWERING campaign">
      <a:dk1>
        <a:srgbClr val="505050"/>
      </a:dk1>
      <a:lt1>
        <a:sysClr val="window" lastClr="FFFFFF"/>
      </a:lt1>
      <a:dk2>
        <a:srgbClr val="0072C6"/>
      </a:dk2>
      <a:lt2>
        <a:srgbClr val="000000"/>
      </a:lt2>
      <a:accent1>
        <a:srgbClr val="107C10"/>
      </a:accent1>
      <a:accent2>
        <a:srgbClr val="FFB900"/>
      </a:accent2>
      <a:accent3>
        <a:srgbClr val="D83B01"/>
      </a:accent3>
      <a:accent4>
        <a:srgbClr val="00BCF2"/>
      </a:accent4>
      <a:accent5>
        <a:srgbClr val="002050"/>
      </a:accent5>
      <a:accent6>
        <a:srgbClr val="BAD80A"/>
      </a:accent6>
      <a:hlink>
        <a:srgbClr val="969696"/>
      </a:hlink>
      <a:folHlink>
        <a:srgbClr val="969696"/>
      </a:folHlink>
    </a:clrScheme>
    <a:fontScheme name="Segoe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ot="0" spcFirstLastPara="0" vertOverflow="overflow" horzOverflow="overflow" vert="horz" wrap="square" lIns="91440" tIns="91440" rIns="91440" bIns="91440" numCol="1" spcCol="0" rtlCol="0" fromWordArt="0" anchor="b" anchorCtr="0" forceAA="0" compatLnSpc="1">
        <a:prstTxWarp prst="textNoShape">
          <a:avLst/>
        </a:prstTxWarp>
        <a:noAutofit/>
      </a:bodyPr>
      <a:lstStyle>
        <a:defPPr algn="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/>
      <a:bodyPr vert="horz" wrap="none" lIns="91440" tIns="91440" rIns="91440" bIns="91440" rtlCol="0" anchor="t">
        <a:noAutofit/>
      </a:bodyPr>
      <a:lstStyle>
        <a:defPPr marL="171450" indent="-171450">
          <a:buFont typeface="Wingdings" pitchFamily="2" charset="2"/>
          <a:buChar char="§"/>
          <a:defRPr sz="1600" dirty="0" err="1" smtClean="0">
            <a:latin typeface="Segoe UI" pitchFamily="34" charset="0"/>
            <a:ea typeface="Segoe UI" pitchFamily="34" charset="0"/>
            <a:cs typeface="Segoe UI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FY15 EPG Presentation Template_16x9_Light_042914" id="{F3AC482D-D5FE-4C12-8E0E-EA8972E3C93B}" vid="{33523C68-E248-4A1F-A64D-A892E9B2A2BC}"/>
    </a:ext>
  </a:extLst>
</a:theme>
</file>

<file path=ppt/theme/theme2.xml><?xml version="1.0" encoding="utf-8"?>
<a:theme xmlns:a="http://schemas.openxmlformats.org/drawingml/2006/main" name="LIGHT GRAY TEMPLATE">
  <a:themeElements>
    <a:clrScheme name="TT Blue on LtGray">
      <a:dk1>
        <a:srgbClr val="1A1A1A"/>
      </a:dk1>
      <a:lt1>
        <a:srgbClr val="FFFFFF"/>
      </a:lt1>
      <a:dk2>
        <a:srgbClr val="0D0D0D"/>
      </a:dk2>
      <a:lt2>
        <a:srgbClr val="E6E6E6"/>
      </a:lt2>
      <a:accent1>
        <a:srgbClr val="0078D4"/>
      </a:accent1>
      <a:accent2>
        <a:srgbClr val="002050"/>
      </a:accent2>
      <a:accent3>
        <a:srgbClr val="107C10"/>
      </a:accent3>
      <a:accent4>
        <a:srgbClr val="D73B01"/>
      </a:accent4>
      <a:accent5>
        <a:srgbClr val="737373"/>
      </a:accent5>
      <a:accent6>
        <a:srgbClr val="D2D2D2"/>
      </a:accent6>
      <a:hlink>
        <a:srgbClr val="00188F"/>
      </a:hlink>
      <a:folHlink>
        <a:srgbClr val="00188F"/>
      </a:folHlink>
    </a:clrScheme>
    <a:fontScheme name="Segoe UI Semibold - Segoe UI">
      <a:majorFont>
        <a:latin typeface="Segoe UI Semibold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algn="l" defTabSz="932472" fontAlgn="base">
          <a:spcBef>
            <a:spcPct val="0"/>
          </a:spcBef>
          <a:spcAft>
            <a:spcPct val="0"/>
          </a:spcAft>
          <a:defRPr sz="2000" dirty="0" err="1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 w="lg" len="med"/>
          <a:tailEnd type="none" w="lg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20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M_LightGray_Sept_2018.potx" id="{0FAF9FBA-50E5-4B89-8F50-EB458E088334}" vid="{09DABCF3-FBBE-41E3-8EAE-8A81552DAAAD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03068A6C218A84EB3BCF7C8CFE1E1AE" ma:contentTypeVersion="2" ma:contentTypeDescription="Create a new document." ma:contentTypeScope="" ma:versionID="81ea28bfc79a259f7d28cdaed25ea2ba">
  <xsd:schema xmlns:xsd="http://www.w3.org/2001/XMLSchema" xmlns:xs="http://www.w3.org/2001/XMLSchema" xmlns:p="http://schemas.microsoft.com/office/2006/metadata/properties" xmlns:ns2="8c85394a-6465-40d3-821b-4062e5603454" targetNamespace="http://schemas.microsoft.com/office/2006/metadata/properties" ma:root="true" ma:fieldsID="0c13559da588b8fea89d19c009ea6732" ns2:_="">
    <xsd:import namespace="8c85394a-6465-40d3-821b-4062e5603454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c85394a-6465-40d3-821b-4062e560345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B0CDCB44-458C-4080-8D45-ADF478E6F496}">
  <ds:schemaRefs>
    <ds:schemaRef ds:uri="http://purl.org/dc/elements/1.1/"/>
    <ds:schemaRef ds:uri="http://schemas.microsoft.com/office/2006/documentManagement/types"/>
    <ds:schemaRef ds:uri="0c1a6c9c-f016-4857-bf43-21b252e701d9"/>
    <ds:schemaRef ds:uri="7a20bb1a-2526-436b-a0aa-406322af6dcc"/>
    <ds:schemaRef ds:uri="http://purl.org/dc/terms/"/>
    <ds:schemaRef ds:uri="http://schemas.openxmlformats.org/package/2006/metadata/core-properties"/>
    <ds:schemaRef ds:uri="http://purl.org/dc/dcmitype/"/>
    <ds:schemaRef ds:uri="http://schemas.microsoft.com/office/infopath/2007/PartnerControls"/>
    <ds:schemaRef ds:uri="http://schemas.microsoft.com/office/2006/metadata/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40D031C4-E7D8-4005-85D5-55BF8FFBF0B9}"/>
</file>

<file path=customXml/itemProps3.xml><?xml version="1.0" encoding="utf-8"?>
<ds:datastoreItem xmlns:ds="http://schemas.openxmlformats.org/officeDocument/2006/customXml" ds:itemID="{A412A068-495E-480F-9320-7931A1D407C8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20</TotalTime>
  <Words>116</Words>
  <Application>Microsoft Office PowerPoint</Application>
  <PresentationFormat>Widescreen</PresentationFormat>
  <Paragraphs>18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2" baseType="lpstr">
      <vt:lpstr>Arial</vt:lpstr>
      <vt:lpstr>Calibri</vt:lpstr>
      <vt:lpstr>Consolas</vt:lpstr>
      <vt:lpstr>Segoe UI</vt:lpstr>
      <vt:lpstr>Segoe UI Light</vt:lpstr>
      <vt:lpstr>Segoe UI Semibold</vt:lpstr>
      <vt:lpstr>Segoe UI Semilight</vt:lpstr>
      <vt:lpstr>Wingdings</vt:lpstr>
      <vt:lpstr>8_FY15 Enterprise identity theme</vt:lpstr>
      <vt:lpstr>LIGHT GRAY TEMPLATE</vt:lpstr>
      <vt:lpstr>think-cell Slide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CM Customer Evidence August 2018</dc:title>
  <dc:creator>Rhea Odedra</dc:creator>
  <cp:lastModifiedBy>Mary Lisa Newman</cp:lastModifiedBy>
  <cp:revision>9</cp:revision>
  <dcterms:created xsi:type="dcterms:W3CDTF">2018-04-09T11:17:14Z</dcterms:created>
  <dcterms:modified xsi:type="dcterms:W3CDTF">2020-06-29T20:12:3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f42aa342-8706-4288-bd11-ebb85995028c_Enabled">
    <vt:lpwstr>True</vt:lpwstr>
  </property>
  <property fmtid="{D5CDD505-2E9C-101B-9397-08002B2CF9AE}" pid="3" name="MSIP_Label_f42aa342-8706-4288-bd11-ebb85995028c_SiteId">
    <vt:lpwstr>72f988bf-86f1-41af-91ab-2d7cd011db47</vt:lpwstr>
  </property>
  <property fmtid="{D5CDD505-2E9C-101B-9397-08002B2CF9AE}" pid="4" name="MSIP_Label_f42aa342-8706-4288-bd11-ebb85995028c_Owner">
    <vt:lpwstr>t-rhoded@microsoft.com</vt:lpwstr>
  </property>
  <property fmtid="{D5CDD505-2E9C-101B-9397-08002B2CF9AE}" pid="5" name="MSIP_Label_f42aa342-8706-4288-bd11-ebb85995028c_SetDate">
    <vt:lpwstr>2018-04-09T11:40:21.6744843Z</vt:lpwstr>
  </property>
  <property fmtid="{D5CDD505-2E9C-101B-9397-08002B2CF9AE}" pid="6" name="MSIP_Label_f42aa342-8706-4288-bd11-ebb85995028c_Name">
    <vt:lpwstr>General</vt:lpwstr>
  </property>
  <property fmtid="{D5CDD505-2E9C-101B-9397-08002B2CF9AE}" pid="7" name="MSIP_Label_f42aa342-8706-4288-bd11-ebb85995028c_Application">
    <vt:lpwstr>Microsoft Azure Information Protection</vt:lpwstr>
  </property>
  <property fmtid="{D5CDD505-2E9C-101B-9397-08002B2CF9AE}" pid="8" name="MSIP_Label_f42aa342-8706-4288-bd11-ebb85995028c_Extended_MSFT_Method">
    <vt:lpwstr>Automatic</vt:lpwstr>
  </property>
  <property fmtid="{D5CDD505-2E9C-101B-9397-08002B2CF9AE}" pid="9" name="Sensitivity">
    <vt:lpwstr>General</vt:lpwstr>
  </property>
  <property fmtid="{D5CDD505-2E9C-101B-9397-08002B2CF9AE}" pid="10" name="ContentTypeId">
    <vt:lpwstr>0x010100A03068A6C218A84EB3BCF7C8CFE1E1AE</vt:lpwstr>
  </property>
  <property fmtid="{D5CDD505-2E9C-101B-9397-08002B2CF9AE}" pid="11" name="_dlc_DocIdItemGuid">
    <vt:lpwstr>0f053430-8679-4afd-ad79-037853e647ad</vt:lpwstr>
  </property>
  <property fmtid="{D5CDD505-2E9C-101B-9397-08002B2CF9AE}" pid="12" name="TaxKeyword">
    <vt:lpwstr/>
  </property>
  <property fmtid="{D5CDD505-2E9C-101B-9397-08002B2CF9AE}" pid="13" name="ContentType1">
    <vt:lpwstr>14;#Document|64c15061-4ecf-4866-9082-c78643db035d</vt:lpwstr>
  </property>
  <property fmtid="{D5CDD505-2E9C-101B-9397-08002B2CF9AE}" pid="14" name="Account">
    <vt:lpwstr>15;#Microsoft|d841e977-0b57-4f5c-bd13-db9e556048b6</vt:lpwstr>
  </property>
  <property fmtid="{D5CDD505-2E9C-101B-9397-08002B2CF9AE}" pid="15" name="ServicesDomain">
    <vt:lpwstr/>
  </property>
  <property fmtid="{D5CDD505-2E9C-101B-9397-08002B2CF9AE}" pid="16" name="VerticalIndustries">
    <vt:lpwstr/>
  </property>
  <property fmtid="{D5CDD505-2E9C-101B-9397-08002B2CF9AE}" pid="17" name="ServicesBusinessScenario">
    <vt:lpwstr/>
  </property>
  <property fmtid="{D5CDD505-2E9C-101B-9397-08002B2CF9AE}" pid="18" name="MS Language">
    <vt:lpwstr>3;#English|cb91f272-ce4d-4a7e-9bbf-78b58e3d188d</vt:lpwstr>
  </property>
  <property fmtid="{D5CDD505-2E9C-101B-9397-08002B2CF9AE}" pid="19" name="SalesGeography">
    <vt:lpwstr/>
  </property>
  <property fmtid="{D5CDD505-2E9C-101B-9397-08002B2CF9AE}" pid="20" name="ESSM BOM - IP Type">
    <vt:lpwstr/>
  </property>
  <property fmtid="{D5CDD505-2E9C-101B-9397-08002B2CF9AE}" pid="21" name="MSProducts">
    <vt:lpwstr/>
  </property>
  <property fmtid="{D5CDD505-2E9C-101B-9397-08002B2CF9AE}" pid="22" name="ServicesIPTypes">
    <vt:lpwstr/>
  </property>
  <property fmtid="{D5CDD505-2E9C-101B-9397-08002B2CF9AE}" pid="23" name="ServicesCommunities">
    <vt:lpwstr/>
  </property>
  <property fmtid="{D5CDD505-2E9C-101B-9397-08002B2CF9AE}" pid="24" name="bc28b5f076654a3b96073bbbebfeb8c9">
    <vt:lpwstr/>
  </property>
  <property fmtid="{D5CDD505-2E9C-101B-9397-08002B2CF9AE}" pid="25" name="EnterpriseServices">
    <vt:lpwstr/>
  </property>
  <property fmtid="{D5CDD505-2E9C-101B-9397-08002B2CF9AE}" pid="26" name="p920f6992caa4adbaa1880c7ef19b02a">
    <vt:lpwstr/>
  </property>
  <property fmtid="{D5CDD505-2E9C-101B-9397-08002B2CF9AE}" pid="27" name="MSLanguage">
    <vt:lpwstr/>
  </property>
  <property fmtid="{D5CDD505-2E9C-101B-9397-08002B2CF9AE}" pid="28" name="AuthorIds_UIVersion_2048">
    <vt:lpwstr>174894</vt:lpwstr>
  </property>
  <property fmtid="{D5CDD505-2E9C-101B-9397-08002B2CF9AE}" pid="29" name="Order">
    <vt:r8>280600</vt:r8>
  </property>
</Properties>
</file>